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7" r:id="rId5"/>
  </p:sldMasterIdLst>
  <p:notesMasterIdLst>
    <p:notesMasterId r:id="rId11"/>
  </p:notesMasterIdLst>
  <p:handoutMasterIdLst>
    <p:handoutMasterId r:id="rId12"/>
  </p:handoutMasterIdLst>
  <p:sldIdLst>
    <p:sldId id="3083" r:id="rId6"/>
    <p:sldId id="3645" r:id="rId7"/>
    <p:sldId id="3643" r:id="rId8"/>
    <p:sldId id="270" r:id="rId9"/>
    <p:sldId id="3639" r:id="rId1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itchbook" id="{7FFE76C1-4904-4F29-BA93-165C707F893B}">
          <p14:sldIdLst>
            <p14:sldId id="3083"/>
            <p14:sldId id="3645"/>
            <p14:sldId id="3643"/>
            <p14:sldId id="270"/>
            <p14:sldId id="36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936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orient="horz" pos="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ana Cristina Da Silva Alves" initials="JA" lastIdx="9" clrIdx="0">
    <p:extLst>
      <p:ext uri="{19B8F6BF-5375-455C-9EA6-DF929625EA0E}">
        <p15:presenceInfo xmlns:p15="http://schemas.microsoft.com/office/powerpoint/2012/main" userId="S::jdasilvaalves@ifc.org::e168e5f2-33ba-464f-80ae-186d90435c31" providerId="AD"/>
      </p:ext>
    </p:extLst>
  </p:cmAuthor>
  <p:cmAuthor id="2" name="William Harris Tavel" initials="WHT" lastIdx="7" clrIdx="1">
    <p:extLst>
      <p:ext uri="{19B8F6BF-5375-455C-9EA6-DF929625EA0E}">
        <p15:presenceInfo xmlns:p15="http://schemas.microsoft.com/office/powerpoint/2012/main" userId="William Harris Tavel" providerId="None"/>
      </p:ext>
    </p:extLst>
  </p:cmAuthor>
  <p:cmAuthor id="3" name="Maria Tamiris" initials="MT" lastIdx="4" clrIdx="2">
    <p:extLst>
      <p:ext uri="{19B8F6BF-5375-455C-9EA6-DF929625EA0E}">
        <p15:presenceInfo xmlns:p15="http://schemas.microsoft.com/office/powerpoint/2012/main" userId="S::mcabralmendessan@ifc.org::cc6c0f87-2af9-4992-8571-a044fe87f1a2" providerId="AD"/>
      </p:ext>
    </p:extLst>
  </p:cmAuthor>
  <p:cmAuthor id="4" name="Vipin Yadav" initials="VY" lastIdx="2" clrIdx="3">
    <p:extLst>
      <p:ext uri="{19B8F6BF-5375-455C-9EA6-DF929625EA0E}">
        <p15:presenceInfo xmlns:p15="http://schemas.microsoft.com/office/powerpoint/2012/main" userId="S::vyadav@ifc.org::5e34347c-0a18-464d-b74a-7ea07d94e5c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8EAEB"/>
    <a:srgbClr val="002F54"/>
    <a:srgbClr val="00B0F0"/>
    <a:srgbClr val="7F7F7F"/>
    <a:srgbClr val="D9D9D9"/>
    <a:srgbClr val="C5E0B4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23" autoAdjust="0"/>
    <p:restoredTop sz="94660"/>
  </p:normalViewPr>
  <p:slideViewPr>
    <p:cSldViewPr snapToGrid="0">
      <p:cViewPr varScale="1">
        <p:scale>
          <a:sx n="58" d="100"/>
          <a:sy n="58" d="100"/>
        </p:scale>
        <p:origin x="564" y="72"/>
      </p:cViewPr>
      <p:guideLst>
        <p:guide orient="horz" pos="3936"/>
        <p:guide pos="3840"/>
        <p:guide orient="horz" pos="4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af Schmidt" userId="69040715-8aa4-43b9-af9b-5e07f80ee195" providerId="ADAL" clId="{F8247423-B28B-4255-BD2C-D219CF6F9BEB}"/>
    <pc:docChg chg="delSld delSection modSection">
      <pc:chgData name="Olaf Schmidt" userId="69040715-8aa4-43b9-af9b-5e07f80ee195" providerId="ADAL" clId="{F8247423-B28B-4255-BD2C-D219CF6F9BEB}" dt="2022-06-06T13:39:19.467" v="0" actId="47"/>
      <pc:docMkLst>
        <pc:docMk/>
      </pc:docMkLst>
      <pc:sldChg chg="del">
        <pc:chgData name="Olaf Schmidt" userId="69040715-8aa4-43b9-af9b-5e07f80ee195" providerId="ADAL" clId="{F8247423-B28B-4255-BD2C-D219CF6F9BEB}" dt="2022-06-06T13:39:19.467" v="0" actId="47"/>
        <pc:sldMkLst>
          <pc:docMk/>
          <pc:sldMk cId="2477383428" sldId="269"/>
        </pc:sldMkLst>
      </pc:sldChg>
      <pc:sldChg chg="del">
        <pc:chgData name="Olaf Schmidt" userId="69040715-8aa4-43b9-af9b-5e07f80ee195" providerId="ADAL" clId="{F8247423-B28B-4255-BD2C-D219CF6F9BEB}" dt="2022-06-06T13:39:19.467" v="0" actId="47"/>
        <pc:sldMkLst>
          <pc:docMk/>
          <pc:sldMk cId="254769317" sldId="3267"/>
        </pc:sldMkLst>
      </pc:sldChg>
      <pc:sldChg chg="del">
        <pc:chgData name="Olaf Schmidt" userId="69040715-8aa4-43b9-af9b-5e07f80ee195" providerId="ADAL" clId="{F8247423-B28B-4255-BD2C-D219CF6F9BEB}" dt="2022-06-06T13:39:19.467" v="0" actId="47"/>
        <pc:sldMkLst>
          <pc:docMk/>
          <pc:sldMk cId="4144635437" sldId="3489"/>
        </pc:sldMkLst>
      </pc:sldChg>
      <pc:sldChg chg="del">
        <pc:chgData name="Olaf Schmidt" userId="69040715-8aa4-43b9-af9b-5e07f80ee195" providerId="ADAL" clId="{F8247423-B28B-4255-BD2C-D219CF6F9BEB}" dt="2022-06-06T13:39:19.467" v="0" actId="47"/>
        <pc:sldMkLst>
          <pc:docMk/>
          <pc:sldMk cId="1477704417" sldId="3500"/>
        </pc:sldMkLst>
      </pc:sldChg>
      <pc:sldChg chg="del">
        <pc:chgData name="Olaf Schmidt" userId="69040715-8aa4-43b9-af9b-5e07f80ee195" providerId="ADAL" clId="{F8247423-B28B-4255-BD2C-D219CF6F9BEB}" dt="2022-06-06T13:39:19.467" v="0" actId="47"/>
        <pc:sldMkLst>
          <pc:docMk/>
          <pc:sldMk cId="351778235" sldId="3502"/>
        </pc:sldMkLst>
      </pc:sldChg>
      <pc:sldChg chg="del">
        <pc:chgData name="Olaf Schmidt" userId="69040715-8aa4-43b9-af9b-5e07f80ee195" providerId="ADAL" clId="{F8247423-B28B-4255-BD2C-D219CF6F9BEB}" dt="2022-06-06T13:39:19.467" v="0" actId="47"/>
        <pc:sldMkLst>
          <pc:docMk/>
          <pc:sldMk cId="1907808074" sldId="3545"/>
        </pc:sldMkLst>
      </pc:sldChg>
      <pc:sldChg chg="del">
        <pc:chgData name="Olaf Schmidt" userId="69040715-8aa4-43b9-af9b-5e07f80ee195" providerId="ADAL" clId="{F8247423-B28B-4255-BD2C-D219CF6F9BEB}" dt="2022-06-06T13:39:19.467" v="0" actId="47"/>
        <pc:sldMkLst>
          <pc:docMk/>
          <pc:sldMk cId="656613864" sldId="3636"/>
        </pc:sldMkLst>
      </pc:sldChg>
      <pc:sldChg chg="del">
        <pc:chgData name="Olaf Schmidt" userId="69040715-8aa4-43b9-af9b-5e07f80ee195" providerId="ADAL" clId="{F8247423-B28B-4255-BD2C-D219CF6F9BEB}" dt="2022-06-06T13:39:19.467" v="0" actId="47"/>
        <pc:sldMkLst>
          <pc:docMk/>
          <pc:sldMk cId="1023963218" sldId="3641"/>
        </pc:sldMkLst>
      </pc:sldChg>
      <pc:sldChg chg="del">
        <pc:chgData name="Olaf Schmidt" userId="69040715-8aa4-43b9-af9b-5e07f80ee195" providerId="ADAL" clId="{F8247423-B28B-4255-BD2C-D219CF6F9BEB}" dt="2022-06-06T13:39:19.467" v="0" actId="47"/>
        <pc:sldMkLst>
          <pc:docMk/>
          <pc:sldMk cId="2522223628" sldId="364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438465108417642E-2"/>
          <c:y val="6.0416763318642236E-2"/>
          <c:w val="0.58034905746650911"/>
          <c:h val="0.473252918889662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atin America and Caribbean</c:v>
                </c:pt>
              </c:strCache>
            </c:strRef>
          </c:tx>
          <c:spPr>
            <a:solidFill>
              <a:schemeClr val="accent5">
                <a:shade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Health Care Access and Quality Inde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5A-449A-B5AA-119324418C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rth Africa and Midlde East</c:v>
                </c:pt>
              </c:strCache>
            </c:strRef>
          </c:tx>
          <c:spPr>
            <a:solidFill>
              <a:schemeClr val="accent5">
                <a:shade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Health Care Access and Quality Index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7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5A-449A-B5AA-119324418C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b-Saharan Africa</c:v>
                </c:pt>
              </c:strCache>
            </c:strRef>
          </c:tx>
          <c:spPr>
            <a:solidFill>
              <a:schemeClr val="accent5">
                <a:shade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Health Care Access and Quality Index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5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75A-449A-B5AA-119324418CC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outh Asia</c:v>
                </c:pt>
              </c:strCache>
            </c:strRef>
          </c:tx>
          <c:spPr>
            <a:solidFill>
              <a:schemeClr val="accent5">
                <a:tint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Health Care Access and Quality Index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6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75A-449A-B5AA-119324418CC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entral Europe, Eastern Europe and Central Asia</c:v>
                </c:pt>
              </c:strCache>
            </c:strRef>
          </c:tx>
          <c:spPr>
            <a:solidFill>
              <a:schemeClr val="accent5">
                <a:tint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Health Care Access and Quality Index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8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5A-449A-B5AA-119324418CC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outheast Asia, East Asia and Oceania</c:v>
                </c:pt>
              </c:strCache>
            </c:strRef>
          </c:tx>
          <c:spPr>
            <a:solidFill>
              <a:schemeClr val="accent5">
                <a:tint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Health Care Access and Quality Index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8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75A-449A-B5AA-119324418C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79213408"/>
        <c:axId val="379220480"/>
      </c:barChart>
      <c:catAx>
        <c:axId val="37921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1" i="1" u="none" strike="noStrike" kern="1200" baseline="0">
                <a:solidFill>
                  <a:srgbClr val="002F54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379220480"/>
        <c:crosses val="autoZero"/>
        <c:auto val="1"/>
        <c:lblAlgn val="ctr"/>
        <c:lblOffset val="100"/>
        <c:noMultiLvlLbl val="0"/>
      </c:catAx>
      <c:valAx>
        <c:axId val="37922048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US"/>
          </a:p>
        </c:txPr>
        <c:crossAx val="37921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841470785532224E-2"/>
          <c:y val="0.60628021252582054"/>
          <c:w val="0.63493327670153477"/>
          <c:h val="0.118470965746539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t" anchorCtr="0"/>
        <a:lstStyle/>
        <a:p>
          <a:pPr>
            <a:defRPr sz="500" b="0" i="1" u="none" strike="noStrike" kern="1200" baseline="0">
              <a:solidFill>
                <a:srgbClr val="002F54"/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323717600391242E-2"/>
          <c:y val="8.5061506715109717E-2"/>
          <c:w val="0.88520723523338585"/>
          <c:h val="0.78327493949733273"/>
        </c:manualLayout>
      </c:layout>
      <c:bubbleChart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Hospital beds (per 1,000 people)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5">
                  <a:tint val="50000"/>
                  <a:alpha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05-423B-8484-FFA9B24E5EB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>
                  <a:tint val="70000"/>
                  <a:alpha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C05-423B-8484-FFA9B24E5EB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>
                  <a:tint val="90000"/>
                  <a:alpha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C05-423B-8484-FFA9B24E5EB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shade val="90000"/>
                  <a:alpha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C05-423B-8484-FFA9B24E5EB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>
                  <a:shade val="70000"/>
                  <a:alpha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C05-423B-8484-FFA9B24E5EB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>
                  <a:shade val="50000"/>
                  <a:alpha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C05-423B-8484-FFA9B24E5EBE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180711E7-B98F-4F04-85EA-B429EFC8381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9C05-423B-8484-FFA9B24E5EB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F443D067-7463-415C-8E5B-4B279758FC7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9C05-423B-8484-FFA9B24E5EB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8CD6940-F195-421C-80AC-AEB192BF31D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9C05-423B-8484-FFA9B24E5EB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B355121-B14E-4D71-9730-72F86113A83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9C05-423B-8484-FFA9B24E5EB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A5E64B2-A3EF-438E-B6B1-8777960DE64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9C05-423B-8484-FFA9B24E5EB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34B9A7AE-7F8A-416C-9B37-96B4F1E2D19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9C05-423B-8484-FFA9B24E5E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B$2:$B$7</c:f>
              <c:numCache>
                <c:formatCode>General</c:formatCode>
                <c:ptCount val="6"/>
                <c:pt idx="0">
                  <c:v>1.66</c:v>
                </c:pt>
                <c:pt idx="1">
                  <c:v>3.44</c:v>
                </c:pt>
                <c:pt idx="2">
                  <c:v>2.2799999999999998</c:v>
                </c:pt>
                <c:pt idx="3">
                  <c:v>1.32</c:v>
                </c:pt>
                <c:pt idx="4">
                  <c:v>0.83</c:v>
                </c:pt>
                <c:pt idx="5">
                  <c:v>0.21</c:v>
                </c:pt>
              </c:numCache>
            </c:numRef>
          </c:xVal>
          <c:yVal>
            <c:numRef>
              <c:f>Sheet1!$C$2:$C$7</c:f>
              <c:numCache>
                <c:formatCode>General</c:formatCode>
                <c:ptCount val="6"/>
                <c:pt idx="0">
                  <c:v>4.51</c:v>
                </c:pt>
                <c:pt idx="1">
                  <c:v>5.36</c:v>
                </c:pt>
                <c:pt idx="2">
                  <c:v>1.89</c:v>
                </c:pt>
                <c:pt idx="3">
                  <c:v>1.54</c:v>
                </c:pt>
                <c:pt idx="4">
                  <c:v>0.57999999999999996</c:v>
                </c:pt>
                <c:pt idx="5">
                  <c:v>1.31</c:v>
                </c:pt>
              </c:numCache>
            </c:numRef>
          </c:yVal>
          <c:bubbleSize>
            <c:numRef>
              <c:f>Sheet1!$D$2:$D$7</c:f>
              <c:numCache>
                <c:formatCode>General</c:formatCode>
                <c:ptCount val="6"/>
                <c:pt idx="0">
                  <c:v>10.4</c:v>
                </c:pt>
                <c:pt idx="1">
                  <c:v>23.6</c:v>
                </c:pt>
                <c:pt idx="2">
                  <c:v>9.18</c:v>
                </c:pt>
                <c:pt idx="3">
                  <c:v>7.25</c:v>
                </c:pt>
                <c:pt idx="4">
                  <c:v>1.86</c:v>
                </c:pt>
                <c:pt idx="5">
                  <c:v>1.56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Sheet1!$A$2:$A$7</c15:f>
                <c15:dlblRangeCache>
                  <c:ptCount val="6"/>
                  <c:pt idx="0">
                    <c:v>East Asia &amp; Pacific</c:v>
                  </c:pt>
                  <c:pt idx="1">
                    <c:v>Europe &amp; Central Asia</c:v>
                  </c:pt>
                  <c:pt idx="2">
                    <c:v>Latin America &amp; Caribbean</c:v>
                  </c:pt>
                  <c:pt idx="3">
                    <c:v>Middle East &amp; North Africa</c:v>
                  </c:pt>
                  <c:pt idx="4">
                    <c:v>South Asia</c:v>
                  </c:pt>
                  <c:pt idx="5">
                    <c:v>Sub-Saharan Africa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9C05-423B-8484-FFA9B24E5EB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bubbleScale val="100"/>
        <c:showNegBubbles val="0"/>
        <c:axId val="1194170143"/>
        <c:axId val="1194178047"/>
      </c:bubbleChart>
      <c:valAx>
        <c:axId val="119417014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002F54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500" b="1" i="1" u="none">
                    <a:solidFill>
                      <a:srgbClr val="002F54"/>
                    </a:solidFill>
                    <a:effectLst/>
                    <a:latin typeface="Montserrat" panose="00000500000000000000" pitchFamily="2" charset="0"/>
                    <a:cs typeface="Mongolian Baiti" panose="03000500000000000000" pitchFamily="66" charset="0"/>
                  </a:rPr>
                  <a:t>Physicians (per 1,000 people)</a:t>
                </a:r>
                <a:endParaRPr lang="en-US" sz="300" b="1" i="1" u="none">
                  <a:solidFill>
                    <a:srgbClr val="002F54"/>
                  </a:solidFill>
                  <a:effectLst/>
                  <a:latin typeface="Montserrat" panose="00000500000000000000" pitchFamily="2" charset="0"/>
                  <a:cs typeface="Mongolian Baiti" panose="03000500000000000000" pitchFamily="66" charset="0"/>
                </a:endParaRPr>
              </a:p>
            </c:rich>
          </c:tx>
          <c:layout>
            <c:manualLayout>
              <c:xMode val="edge"/>
              <c:yMode val="edge"/>
              <c:x val="0.35414770463149126"/>
              <c:y val="0.8819891209763116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002F54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4178047"/>
        <c:crosses val="autoZero"/>
        <c:crossBetween val="midCat"/>
      </c:valAx>
      <c:valAx>
        <c:axId val="119417804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 eaLnBrk="1" fontAlgn="b" latinLnBrk="0" hangingPunct="1">
                  <a:defRPr lang="en-US" sz="500" b="1" i="1" u="none" strike="noStrike" kern="1200" baseline="0" dirty="0" smtClean="0">
                    <a:solidFill>
                      <a:srgbClr val="002F54"/>
                    </a:solidFill>
                    <a:effectLst/>
                    <a:latin typeface="Montserrat" panose="00000500000000000000" pitchFamily="2" charset="0"/>
                    <a:ea typeface="+mn-ea"/>
                    <a:cs typeface="Mongolian Baiti" panose="03000500000000000000" pitchFamily="66" charset="0"/>
                  </a:defRPr>
                </a:pPr>
                <a:r>
                  <a:rPr lang="en-US" sz="500" b="1" i="1" u="none" strike="noStrike" kern="1200" baseline="0">
                    <a:solidFill>
                      <a:srgbClr val="002F54"/>
                    </a:solidFill>
                    <a:effectLst/>
                    <a:latin typeface="Montserrat" panose="00000500000000000000" pitchFamily="2" charset="0"/>
                    <a:ea typeface="+mn-ea"/>
                    <a:cs typeface="Mongolian Baiti" panose="03000500000000000000" pitchFamily="66" charset="0"/>
                  </a:rPr>
                  <a:t>Hospital beds (per 1,000 people)</a:t>
                </a:r>
              </a:p>
            </c:rich>
          </c:tx>
          <c:layout>
            <c:manualLayout>
              <c:xMode val="edge"/>
              <c:yMode val="edge"/>
              <c:x val="2.6633451973410133E-2"/>
              <c:y val="0.1400520274567290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 eaLnBrk="1" fontAlgn="b" latinLnBrk="0" hangingPunct="1">
                <a:defRPr lang="en-US" sz="500" b="1" i="1" u="none" strike="noStrike" kern="1200" baseline="0" dirty="0" smtClean="0">
                  <a:solidFill>
                    <a:srgbClr val="002F54"/>
                  </a:solidFill>
                  <a:effectLst/>
                  <a:latin typeface="Montserrat" panose="00000500000000000000" pitchFamily="2" charset="0"/>
                  <a:ea typeface="+mn-ea"/>
                  <a:cs typeface="Mongolian Baiti" panose="03000500000000000000" pitchFamily="66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4170143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D18975-96CA-4D90-8739-53E765D15E24}" type="doc">
      <dgm:prSet loTypeId="urn:microsoft.com/office/officeart/2005/8/layout/list1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79981024-89CD-4EBA-9861-CAF0C6D3FF0F}">
      <dgm:prSet phldrT="[Text]" custT="1"/>
      <dgm:spPr>
        <a:xfrm>
          <a:off x="216781" y="80651"/>
          <a:ext cx="3034937" cy="29520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altLang="ja-JP" sz="1200" b="1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Financial Structuring &amp; Industry Knowledge</a:t>
          </a:r>
          <a:endParaRPr lang="en-US" sz="1200" b="1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</dgm:t>
    </dgm:pt>
    <dgm:pt modelId="{4513A583-E39F-4781-AB65-2DFD03FE0EA3}" type="parTrans" cxnId="{1D415840-7906-4A97-A5A6-FCFB0784547D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D270563A-BF50-4911-8D18-3CED56A73FE4}" type="sibTrans" cxnId="{1D415840-7906-4A97-A5A6-FCFB0784547D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A57206F6-5A7D-45E7-9B6A-4C73AA9E0FC0}">
      <dgm:prSet phldrT="[Text]" custT="1"/>
      <dgm:spPr>
        <a:xfrm>
          <a:off x="216781" y="1006751"/>
          <a:ext cx="3034937" cy="29520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" lastClr="FFFFFF"/>
              </a:solidFill>
              <a:latin typeface="Montserrat" panose="00000500000000000000" pitchFamily="2" charset="0"/>
              <a:ea typeface="+mn-ea"/>
              <a:cs typeface="+mn-cs"/>
            </a:rPr>
            <a:t>Global &amp; Local Knowledge</a:t>
          </a:r>
        </a:p>
      </dgm:t>
    </dgm:pt>
    <dgm:pt modelId="{8E551E75-C930-48BD-9B2C-1766A38FB295}" type="parTrans" cxnId="{0DEA935C-5C9A-4274-8BFA-0752EA9842EC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90A43ADE-F39F-43A9-A0AE-7CC5A47FC5C9}" type="sibTrans" cxnId="{0DEA935C-5C9A-4274-8BFA-0752EA9842EC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B70892E5-5B5D-4B85-A178-3F57C19ED41A}">
      <dgm:prSet phldrT="[Text]" custT="1"/>
      <dgm:spPr>
        <a:xfrm>
          <a:off x="216781" y="1932851"/>
          <a:ext cx="3034937" cy="29520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" lastClr="FFFFFF"/>
              </a:solidFill>
              <a:latin typeface="Montserrat" panose="00000500000000000000" pitchFamily="2" charset="0"/>
              <a:ea typeface="+mn-ea"/>
              <a:cs typeface="+mn-cs"/>
            </a:rPr>
            <a:t>Leveraging WBG Products</a:t>
          </a:r>
        </a:p>
      </dgm:t>
    </dgm:pt>
    <dgm:pt modelId="{83DFDB35-3E97-4B1C-89E6-802114A701A7}" type="parTrans" cxnId="{F65CD955-A9C3-4105-AA4F-3E0730F87E45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629E5C46-131A-4ED0-98EB-12A1BC457E67}" type="sibTrans" cxnId="{F65CD955-A9C3-4105-AA4F-3E0730F87E45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A576863F-825B-4598-9786-C787A0D1FF19}">
      <dgm:prSet phldrT="[Text]" custT="1"/>
      <dgm:spPr>
        <a:xfrm>
          <a:off x="216781" y="2984951"/>
          <a:ext cx="3034937" cy="29520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altLang="ja-JP" sz="1200" b="1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Environmental, Social and Governance</a:t>
          </a:r>
          <a:endParaRPr lang="en-US" sz="1200" b="1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</dgm:t>
    </dgm:pt>
    <dgm:pt modelId="{C63475C2-AE36-4816-96DA-9DC0736172E6}" type="parTrans" cxnId="{67374546-98E2-485E-A471-290503CB8A5A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A41E427C-5DE8-4709-ACF8-ED0385D8B4FE}" type="sibTrans" cxnId="{67374546-98E2-485E-A471-290503CB8A5A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3C718E11-23D6-4113-A73B-3F67E632E6AB}">
      <dgm:prSet phldrT="[Text]" custT="1"/>
      <dgm:spPr>
        <a:xfrm>
          <a:off x="216781" y="3911051"/>
          <a:ext cx="3034937" cy="29520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200" b="1" dirty="0">
              <a:solidFill>
                <a:sysClr val="window" lastClr="FFFFFF"/>
              </a:solidFill>
              <a:latin typeface="Montserrat" panose="00000500000000000000" pitchFamily="2" charset="0"/>
              <a:ea typeface="+mn-ea"/>
              <a:cs typeface="+mn-cs"/>
            </a:rPr>
            <a:t>Advice</a:t>
          </a:r>
        </a:p>
      </dgm:t>
    </dgm:pt>
    <dgm:pt modelId="{3B149C7D-A7EC-4C01-BD31-6EC6A97688DD}" type="parTrans" cxnId="{161E8CA6-B55E-4A04-A03F-674E15D1E791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66106213-9799-4491-A98C-AB9B6B32AC94}" type="sibTrans" cxnId="{161E8CA6-B55E-4A04-A03F-674E15D1E791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ECA2790F-0D52-4FEE-98D7-7024330430A1}">
      <dgm:prSet phldrT="[Text]" custT="1"/>
      <dgm:spPr>
        <a:xfrm>
          <a:off x="0" y="228251"/>
          <a:ext cx="4335625" cy="724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Equity and Debt Financing in hard and local currency</a:t>
          </a:r>
          <a:endParaRPr lang="en-US" sz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</dgm:t>
    </dgm:pt>
    <dgm:pt modelId="{69107134-874C-4D8D-B39B-A89AE17E5448}" type="parTrans" cxnId="{E99EA789-CCD0-434D-95BA-C94DD9D9DB6A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86D4A4C8-79D0-426C-87D8-13EF8AF11104}" type="sibTrans" cxnId="{E99EA789-CCD0-434D-95BA-C94DD9D9DB6A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FCF06D79-7D1A-4AEB-9F9D-7EDFAC34E673}">
      <dgm:prSet phldrT="[Text]" custT="1"/>
      <dgm:spPr>
        <a:xfrm>
          <a:off x="0" y="1154351"/>
          <a:ext cx="4335625" cy="724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Extensive relationships with key strategic players </a:t>
          </a:r>
          <a:endParaRPr lang="en-US" sz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</dgm:t>
    </dgm:pt>
    <dgm:pt modelId="{14DBAE0A-22F6-4900-93CE-95C92AD4EA3F}" type="parTrans" cxnId="{D4FCB3F4-96C1-416A-A556-AAB4F6CF1B73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56ADF2EE-24D0-4A45-A27F-67FE0B59B814}" type="sibTrans" cxnId="{D4FCB3F4-96C1-416A-A556-AAB4F6CF1B73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24752CC5-79E3-4E37-9952-A3A278EDA4B6}">
      <dgm:prSet phldrT="[Text]" custT="1"/>
      <dgm:spPr>
        <a:xfrm>
          <a:off x="0" y="2080451"/>
          <a:ext cx="4335625" cy="850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Strong relations with Governments and Public Entities</a:t>
          </a:r>
          <a:endParaRPr lang="en-US" sz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</dgm:t>
    </dgm:pt>
    <dgm:pt modelId="{ED8B7BFE-EDE5-4D90-BC1F-44A5A77DB6D2}" type="parTrans" cxnId="{F878BB1E-A949-41CC-AF21-884AE75DA799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E79AEEA0-943B-48B6-B783-CF6BDA3749D2}" type="sibTrans" cxnId="{F878BB1E-A949-41CC-AF21-884AE75DA799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9D56DF2D-EE60-4E9B-A1B9-41E50F85CD1B}">
      <dgm:prSet phldrT="[Text]" custT="1"/>
      <dgm:spPr>
        <a:xfrm>
          <a:off x="0" y="3132551"/>
          <a:ext cx="4335625" cy="724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Advice on ESG best practices</a:t>
          </a:r>
          <a:endParaRPr lang="en-US" sz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</dgm:t>
    </dgm:pt>
    <dgm:pt modelId="{918A492C-3DF6-4731-9E52-ACC5C75D0473}" type="parTrans" cxnId="{8A9CE793-6257-415D-BCCF-DA5454083475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70AD434F-5A6B-4469-B93A-74E28331A52B}" type="sibTrans" cxnId="{8A9CE793-6257-415D-BCCF-DA5454083475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E664A2C1-30CB-4423-BFED-DF1695F62ABE}">
      <dgm:prSet phldrT="[Text]" custT="1"/>
      <dgm:spPr>
        <a:xfrm>
          <a:off x="0" y="4058651"/>
          <a:ext cx="4335625" cy="70875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Advisory programs, including local supplier development, corporate governance, community development</a:t>
          </a:r>
          <a:endParaRPr lang="en-US" sz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</dgm:t>
    </dgm:pt>
    <dgm:pt modelId="{3210AC4B-168A-4E6E-A605-1525C4A2102B}" type="parTrans" cxnId="{75CAFDF1-9429-432B-B037-DB54E773F844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B33E2B18-7421-42F7-9994-114312F8F947}" type="sibTrans" cxnId="{75CAFDF1-9429-432B-B037-DB54E773F844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F2F7D92E-F726-4F93-9768-409EA0AE0907}">
      <dgm:prSet custT="1"/>
      <dgm:spPr>
        <a:xfrm>
          <a:off x="0" y="228251"/>
          <a:ext cx="4335625" cy="724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In-house technical, market and regulatory expertise</a:t>
          </a:r>
        </a:p>
      </dgm:t>
    </dgm:pt>
    <dgm:pt modelId="{76DE6F97-2326-409C-BE78-AD370E3A6903}" type="parTrans" cxnId="{CD9CDC82-C8F5-4988-9B47-03F8C7C46135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02481A75-D493-4EB3-AAEF-F62E2DAE431E}" type="sibTrans" cxnId="{CD9CDC82-C8F5-4988-9B47-03F8C7C46135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40BFB1F9-1E04-425A-9A4D-BFC9B361EF94}">
      <dgm:prSet custT="1"/>
      <dgm:spPr>
        <a:xfrm>
          <a:off x="0" y="228251"/>
          <a:ext cx="4335625" cy="724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Ability to participate at all levels of the capital structure</a:t>
          </a:r>
        </a:p>
      </dgm:t>
    </dgm:pt>
    <dgm:pt modelId="{0C0DAE94-B634-40E2-82F9-BA239AB63631}" type="parTrans" cxnId="{DD1C5AD0-1588-4DCC-A413-35EFC3A20A42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53BF15C2-13A3-4EF3-BF58-679568EA3FE7}" type="sibTrans" cxnId="{DD1C5AD0-1588-4DCC-A413-35EFC3A20A42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AE8C0A58-5B1A-43F6-B791-DA8D0E2363E8}">
      <dgm:prSet custT="1"/>
      <dgm:spPr>
        <a:xfrm>
          <a:off x="0" y="1154351"/>
          <a:ext cx="4335625" cy="724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20+ local offices and more than 180 professionals</a:t>
          </a:r>
        </a:p>
      </dgm:t>
    </dgm:pt>
    <dgm:pt modelId="{08509EE0-23FE-4634-9F62-0DA2F4E815A0}" type="parTrans" cxnId="{484E918A-9EBA-464E-B784-FD479E297354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4C038DF3-D839-4039-A8C9-38C5A457262A}" type="sibTrans" cxnId="{484E918A-9EBA-464E-B784-FD479E297354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C4BA5F2A-218F-4780-A172-482FB5E242DD}">
      <dgm:prSet custT="1"/>
      <dgm:spPr>
        <a:xfrm>
          <a:off x="0" y="1154351"/>
          <a:ext cx="4335625" cy="724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Able to draw on EM best practices from global portfolio</a:t>
          </a:r>
        </a:p>
      </dgm:t>
    </dgm:pt>
    <dgm:pt modelId="{F5677397-6E88-404E-9A30-11CE64D3E2CA}" type="parTrans" cxnId="{4ECD0FB6-51DA-48BF-93B7-9BE65F5CDF5C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278D9CE4-C292-41CD-AA0A-6B73DBACAD8F}" type="sibTrans" cxnId="{4ECD0FB6-51DA-48BF-93B7-9BE65F5CDF5C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D9F04428-C1FE-4A84-A1F3-CAA1EB0C7A04}">
      <dgm:prSet custT="1"/>
      <dgm:spPr>
        <a:xfrm>
          <a:off x="0" y="2080451"/>
          <a:ext cx="4335625" cy="850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MIGA &amp; PRG insurance products</a:t>
          </a:r>
        </a:p>
      </dgm:t>
    </dgm:pt>
    <dgm:pt modelId="{041F628C-BCEE-43EC-94CB-2DB344B97144}" type="parTrans" cxnId="{9F0E080E-ACEE-4A52-9975-D882F16FC7F9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87B6022A-28EF-4AFB-8011-DE75912557DC}" type="sibTrans" cxnId="{9F0E080E-ACEE-4A52-9975-D882F16FC7F9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70EF0D91-82E6-4610-A37F-8241B6118828}">
      <dgm:prSet custT="1"/>
      <dgm:spPr>
        <a:xfrm>
          <a:off x="0" y="2080451"/>
          <a:ext cx="4335625" cy="850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Special initiatives, e.g. MCPP, Scaling Solar Power, SME Ventures Initiative</a:t>
          </a:r>
        </a:p>
      </dgm:t>
    </dgm:pt>
    <dgm:pt modelId="{B1BE4F1A-E084-4900-B9D4-70C3CA74261E}" type="parTrans" cxnId="{055C9952-E982-4535-A3E3-32C4EF371AB4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1BA72B59-CD30-4BD7-818D-AFB47B49A247}" type="sibTrans" cxnId="{055C9952-E982-4535-A3E3-32C4EF371AB4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96EB1292-F554-4B44-8E27-27CF9A048F88}">
      <dgm:prSet custT="1"/>
      <dgm:spPr>
        <a:xfrm>
          <a:off x="0" y="3132551"/>
          <a:ext cx="4335625" cy="724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Local consultation and disclosure</a:t>
          </a:r>
        </a:p>
      </dgm:t>
    </dgm:pt>
    <dgm:pt modelId="{CF66CDAD-1727-4C52-91C4-CDF82CFDE7BD}" type="parTrans" cxnId="{10A2D23A-E832-4F5B-BDA5-215C5DDB8A30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AC8B5DF3-B8D4-4407-84D5-F6110F247808}" type="sibTrans" cxnId="{10A2D23A-E832-4F5B-BDA5-215C5DDB8A30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8A20D8E8-C109-4B1A-A5BF-BD18C4DC3872}">
      <dgm:prSet custT="1"/>
      <dgm:spPr>
        <a:xfrm>
          <a:off x="0" y="3132551"/>
          <a:ext cx="4335625" cy="7245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Best in class on ESG standards</a:t>
          </a:r>
        </a:p>
      </dgm:t>
    </dgm:pt>
    <dgm:pt modelId="{A4295132-0A2A-4C9B-9BD2-79B66F5B5377}" type="parTrans" cxnId="{ED3F2980-AE3F-401B-BD31-B6617B48AE09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1D4EAF2A-8197-458E-87DF-1C35414B351A}" type="sibTrans" cxnId="{ED3F2980-AE3F-401B-BD31-B6617B48AE09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173195DF-8D44-4A9A-9F0E-1448AB42C6B2}">
      <dgm:prSet custT="1"/>
      <dgm:spPr>
        <a:xfrm>
          <a:off x="0" y="4058651"/>
          <a:ext cx="4335625" cy="70875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en-US" altLang="ja-JP" sz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SME capacity building</a:t>
          </a:r>
        </a:p>
      </dgm:t>
    </dgm:pt>
    <dgm:pt modelId="{23BF89C4-1425-41F8-B5B5-D675F04B0C21}" type="parTrans" cxnId="{F1B00943-99FD-4A7F-9CF4-CE58EBAB9E5D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1660B40C-C237-43E8-B756-61300E97F3F0}" type="sibTrans" cxnId="{F1B00943-99FD-4A7F-9CF4-CE58EBAB9E5D}">
      <dgm:prSet/>
      <dgm:spPr/>
      <dgm:t>
        <a:bodyPr/>
        <a:lstStyle/>
        <a:p>
          <a:endParaRPr lang="en-US" sz="1200">
            <a:latin typeface="Montserrat" panose="00000500000000000000" pitchFamily="2" charset="0"/>
          </a:endParaRPr>
        </a:p>
      </dgm:t>
    </dgm:pt>
    <dgm:pt modelId="{73EA9568-F835-4762-B34A-840184328A08}" type="pres">
      <dgm:prSet presAssocID="{E2D18975-96CA-4D90-8739-53E765D15E24}" presName="linear" presStyleCnt="0">
        <dgm:presLayoutVars>
          <dgm:dir/>
          <dgm:animLvl val="lvl"/>
          <dgm:resizeHandles val="exact"/>
        </dgm:presLayoutVars>
      </dgm:prSet>
      <dgm:spPr/>
    </dgm:pt>
    <dgm:pt modelId="{EDC750F7-F251-4283-9A34-AF7FD3050ACD}" type="pres">
      <dgm:prSet presAssocID="{79981024-89CD-4EBA-9861-CAF0C6D3FF0F}" presName="parentLin" presStyleCnt="0"/>
      <dgm:spPr/>
    </dgm:pt>
    <dgm:pt modelId="{6F3F87C7-0DFF-4193-BC08-B25F6AE58901}" type="pres">
      <dgm:prSet presAssocID="{79981024-89CD-4EBA-9861-CAF0C6D3FF0F}" presName="parentLeftMargin" presStyleLbl="node1" presStyleIdx="0" presStyleCnt="5"/>
      <dgm:spPr/>
    </dgm:pt>
    <dgm:pt modelId="{299F310D-6865-4045-9429-0B944D7653E7}" type="pres">
      <dgm:prSet presAssocID="{79981024-89CD-4EBA-9861-CAF0C6D3FF0F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46E5F1E8-F633-4CFD-BC86-E3A630D824DD}" type="pres">
      <dgm:prSet presAssocID="{79981024-89CD-4EBA-9861-CAF0C6D3FF0F}" presName="negativeSpace" presStyleCnt="0"/>
      <dgm:spPr/>
    </dgm:pt>
    <dgm:pt modelId="{35425963-D49F-4E6D-ACAD-7C38F131E15D}" type="pres">
      <dgm:prSet presAssocID="{79981024-89CD-4EBA-9861-CAF0C6D3FF0F}" presName="childText" presStyleLbl="conFgAcc1" presStyleIdx="0" presStyleCnt="5">
        <dgm:presLayoutVars>
          <dgm:bulletEnabled val="1"/>
        </dgm:presLayoutVars>
      </dgm:prSet>
      <dgm:spPr/>
    </dgm:pt>
    <dgm:pt modelId="{C8CE1465-03BF-4E62-A27D-BCF49361B69A}" type="pres">
      <dgm:prSet presAssocID="{D270563A-BF50-4911-8D18-3CED56A73FE4}" presName="spaceBetweenRectangles" presStyleCnt="0"/>
      <dgm:spPr/>
    </dgm:pt>
    <dgm:pt modelId="{ED2C1A16-6487-4B86-AE2F-BA611AAC03A2}" type="pres">
      <dgm:prSet presAssocID="{A57206F6-5A7D-45E7-9B6A-4C73AA9E0FC0}" presName="parentLin" presStyleCnt="0"/>
      <dgm:spPr/>
    </dgm:pt>
    <dgm:pt modelId="{23CB6195-3065-4728-A9F9-867A82A00350}" type="pres">
      <dgm:prSet presAssocID="{A57206F6-5A7D-45E7-9B6A-4C73AA9E0FC0}" presName="parentLeftMargin" presStyleLbl="node1" presStyleIdx="0" presStyleCnt="5"/>
      <dgm:spPr/>
    </dgm:pt>
    <dgm:pt modelId="{3EEC03F1-CC33-45E4-B4D0-60FD5F3378EB}" type="pres">
      <dgm:prSet presAssocID="{A57206F6-5A7D-45E7-9B6A-4C73AA9E0FC0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C449B38D-438F-4D25-B857-C1C7A507CA81}" type="pres">
      <dgm:prSet presAssocID="{A57206F6-5A7D-45E7-9B6A-4C73AA9E0FC0}" presName="negativeSpace" presStyleCnt="0"/>
      <dgm:spPr/>
    </dgm:pt>
    <dgm:pt modelId="{2B97CA95-D1A0-468D-982D-5825FFE602FA}" type="pres">
      <dgm:prSet presAssocID="{A57206F6-5A7D-45E7-9B6A-4C73AA9E0FC0}" presName="childText" presStyleLbl="conFgAcc1" presStyleIdx="1" presStyleCnt="5">
        <dgm:presLayoutVars>
          <dgm:bulletEnabled val="1"/>
        </dgm:presLayoutVars>
      </dgm:prSet>
      <dgm:spPr/>
    </dgm:pt>
    <dgm:pt modelId="{B82F94FC-F04F-4002-A305-E92F2A693AED}" type="pres">
      <dgm:prSet presAssocID="{90A43ADE-F39F-43A9-A0AE-7CC5A47FC5C9}" presName="spaceBetweenRectangles" presStyleCnt="0"/>
      <dgm:spPr/>
    </dgm:pt>
    <dgm:pt modelId="{6859445A-03AB-437F-B8D3-B12DF3FA0DAA}" type="pres">
      <dgm:prSet presAssocID="{B70892E5-5B5D-4B85-A178-3F57C19ED41A}" presName="parentLin" presStyleCnt="0"/>
      <dgm:spPr/>
    </dgm:pt>
    <dgm:pt modelId="{F1108401-5D07-45F6-BC4F-BCE0F0B59D07}" type="pres">
      <dgm:prSet presAssocID="{B70892E5-5B5D-4B85-A178-3F57C19ED41A}" presName="parentLeftMargin" presStyleLbl="node1" presStyleIdx="1" presStyleCnt="5"/>
      <dgm:spPr/>
    </dgm:pt>
    <dgm:pt modelId="{F4D4AF3E-8912-421E-8DD6-C5A8CA36B0E9}" type="pres">
      <dgm:prSet presAssocID="{B70892E5-5B5D-4B85-A178-3F57C19ED41A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240FCB02-C959-4990-B02E-4EC48D0CB032}" type="pres">
      <dgm:prSet presAssocID="{B70892E5-5B5D-4B85-A178-3F57C19ED41A}" presName="negativeSpace" presStyleCnt="0"/>
      <dgm:spPr/>
    </dgm:pt>
    <dgm:pt modelId="{A0FAB3A8-0F21-4178-83BC-46D0812BD9E5}" type="pres">
      <dgm:prSet presAssocID="{B70892E5-5B5D-4B85-A178-3F57C19ED41A}" presName="childText" presStyleLbl="conFgAcc1" presStyleIdx="2" presStyleCnt="5">
        <dgm:presLayoutVars>
          <dgm:bulletEnabled val="1"/>
        </dgm:presLayoutVars>
      </dgm:prSet>
      <dgm:spPr/>
    </dgm:pt>
    <dgm:pt modelId="{FC99989E-8C01-4234-9C9A-DB9E92988C3E}" type="pres">
      <dgm:prSet presAssocID="{629E5C46-131A-4ED0-98EB-12A1BC457E67}" presName="spaceBetweenRectangles" presStyleCnt="0"/>
      <dgm:spPr/>
    </dgm:pt>
    <dgm:pt modelId="{66AD8B7D-C9AC-433F-94FF-7B5BA12D2E6C}" type="pres">
      <dgm:prSet presAssocID="{A576863F-825B-4598-9786-C787A0D1FF19}" presName="parentLin" presStyleCnt="0"/>
      <dgm:spPr/>
    </dgm:pt>
    <dgm:pt modelId="{544AED6A-0F00-498C-9FB2-FCCDC4B987F5}" type="pres">
      <dgm:prSet presAssocID="{A576863F-825B-4598-9786-C787A0D1FF19}" presName="parentLeftMargin" presStyleLbl="node1" presStyleIdx="2" presStyleCnt="5"/>
      <dgm:spPr/>
    </dgm:pt>
    <dgm:pt modelId="{03A48144-8991-4B3F-B660-9C69AF62BA83}" type="pres">
      <dgm:prSet presAssocID="{A576863F-825B-4598-9786-C787A0D1FF19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D0B1CE6A-5AD7-4768-9DC8-A7F1BC87D92B}" type="pres">
      <dgm:prSet presAssocID="{A576863F-825B-4598-9786-C787A0D1FF19}" presName="negativeSpace" presStyleCnt="0"/>
      <dgm:spPr/>
    </dgm:pt>
    <dgm:pt modelId="{48E2D981-42C0-4CED-A6E8-7B1E6C07B756}" type="pres">
      <dgm:prSet presAssocID="{A576863F-825B-4598-9786-C787A0D1FF19}" presName="childText" presStyleLbl="conFgAcc1" presStyleIdx="3" presStyleCnt="5">
        <dgm:presLayoutVars>
          <dgm:bulletEnabled val="1"/>
        </dgm:presLayoutVars>
      </dgm:prSet>
      <dgm:spPr/>
    </dgm:pt>
    <dgm:pt modelId="{7334B319-D2F4-4694-BE1E-404CBF5B1C03}" type="pres">
      <dgm:prSet presAssocID="{A41E427C-5DE8-4709-ACF8-ED0385D8B4FE}" presName="spaceBetweenRectangles" presStyleCnt="0"/>
      <dgm:spPr/>
    </dgm:pt>
    <dgm:pt modelId="{5498A00E-A399-44DC-9933-75B189056369}" type="pres">
      <dgm:prSet presAssocID="{3C718E11-23D6-4113-A73B-3F67E632E6AB}" presName="parentLin" presStyleCnt="0"/>
      <dgm:spPr/>
    </dgm:pt>
    <dgm:pt modelId="{BDE58A76-0DC0-46F2-B793-40168F539D5C}" type="pres">
      <dgm:prSet presAssocID="{3C718E11-23D6-4113-A73B-3F67E632E6AB}" presName="parentLeftMargin" presStyleLbl="node1" presStyleIdx="3" presStyleCnt="5"/>
      <dgm:spPr/>
    </dgm:pt>
    <dgm:pt modelId="{9F9FC5BC-91E6-46AE-8323-24BC3799EF26}" type="pres">
      <dgm:prSet presAssocID="{3C718E11-23D6-4113-A73B-3F67E632E6AB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BED32752-2FCD-4ADF-840B-FEA1D398607C}" type="pres">
      <dgm:prSet presAssocID="{3C718E11-23D6-4113-A73B-3F67E632E6AB}" presName="negativeSpace" presStyleCnt="0"/>
      <dgm:spPr/>
    </dgm:pt>
    <dgm:pt modelId="{D27EF911-B8ED-49DF-99FB-C42A12DB557D}" type="pres">
      <dgm:prSet presAssocID="{3C718E11-23D6-4113-A73B-3F67E632E6AB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594AEF01-BAF1-4D19-9CD7-DC1765C8EB09}" type="presOf" srcId="{3C718E11-23D6-4113-A73B-3F67E632E6AB}" destId="{BDE58A76-0DC0-46F2-B793-40168F539D5C}" srcOrd="0" destOrd="0" presId="urn:microsoft.com/office/officeart/2005/8/layout/list1"/>
    <dgm:cxn modelId="{A83D6D05-03A9-4AD4-9751-BF4A3069A129}" type="presOf" srcId="{E2D18975-96CA-4D90-8739-53E765D15E24}" destId="{73EA9568-F835-4762-B34A-840184328A08}" srcOrd="0" destOrd="0" presId="urn:microsoft.com/office/officeart/2005/8/layout/list1"/>
    <dgm:cxn modelId="{9F0E080E-ACEE-4A52-9975-D882F16FC7F9}" srcId="{B70892E5-5B5D-4B85-A178-3F57C19ED41A}" destId="{D9F04428-C1FE-4A84-A1F3-CAA1EB0C7A04}" srcOrd="1" destOrd="0" parTransId="{041F628C-BCEE-43EC-94CB-2DB344B97144}" sibTransId="{87B6022A-28EF-4AFB-8011-DE75912557DC}"/>
    <dgm:cxn modelId="{45A19A16-DB8C-4063-B67A-B167175FB3CE}" type="presOf" srcId="{A576863F-825B-4598-9786-C787A0D1FF19}" destId="{03A48144-8991-4B3F-B660-9C69AF62BA83}" srcOrd="1" destOrd="0" presId="urn:microsoft.com/office/officeart/2005/8/layout/list1"/>
    <dgm:cxn modelId="{F878BB1E-A949-41CC-AF21-884AE75DA799}" srcId="{B70892E5-5B5D-4B85-A178-3F57C19ED41A}" destId="{24752CC5-79E3-4E37-9952-A3A278EDA4B6}" srcOrd="0" destOrd="0" parTransId="{ED8B7BFE-EDE5-4D90-BC1F-44A5A77DB6D2}" sibTransId="{E79AEEA0-943B-48B6-B783-CF6BDA3749D2}"/>
    <dgm:cxn modelId="{9DC1D62C-01EE-42C5-A6D9-9470C2D25BEA}" type="presOf" srcId="{96EB1292-F554-4B44-8E27-27CF9A048F88}" destId="{48E2D981-42C0-4CED-A6E8-7B1E6C07B756}" srcOrd="0" destOrd="1" presId="urn:microsoft.com/office/officeart/2005/8/layout/list1"/>
    <dgm:cxn modelId="{10A2D23A-E832-4F5B-BDA5-215C5DDB8A30}" srcId="{A576863F-825B-4598-9786-C787A0D1FF19}" destId="{96EB1292-F554-4B44-8E27-27CF9A048F88}" srcOrd="1" destOrd="0" parTransId="{CF66CDAD-1727-4C52-91C4-CDF82CFDE7BD}" sibTransId="{AC8B5DF3-B8D4-4407-84D5-F6110F247808}"/>
    <dgm:cxn modelId="{1D415840-7906-4A97-A5A6-FCFB0784547D}" srcId="{E2D18975-96CA-4D90-8739-53E765D15E24}" destId="{79981024-89CD-4EBA-9861-CAF0C6D3FF0F}" srcOrd="0" destOrd="0" parTransId="{4513A583-E39F-4781-AB65-2DFD03FE0EA3}" sibTransId="{D270563A-BF50-4911-8D18-3CED56A73FE4}"/>
    <dgm:cxn modelId="{0DEA935C-5C9A-4274-8BFA-0752EA9842EC}" srcId="{E2D18975-96CA-4D90-8739-53E765D15E24}" destId="{A57206F6-5A7D-45E7-9B6A-4C73AA9E0FC0}" srcOrd="1" destOrd="0" parTransId="{8E551E75-C930-48BD-9B2C-1766A38FB295}" sibTransId="{90A43ADE-F39F-43A9-A0AE-7CC5A47FC5C9}"/>
    <dgm:cxn modelId="{66216F5E-1590-494A-97A3-71079B7CAFD0}" type="presOf" srcId="{8A20D8E8-C109-4B1A-A5BF-BD18C4DC3872}" destId="{48E2D981-42C0-4CED-A6E8-7B1E6C07B756}" srcOrd="0" destOrd="2" presId="urn:microsoft.com/office/officeart/2005/8/layout/list1"/>
    <dgm:cxn modelId="{F1B00943-99FD-4A7F-9CF4-CE58EBAB9E5D}" srcId="{3C718E11-23D6-4113-A73B-3F67E632E6AB}" destId="{173195DF-8D44-4A9A-9F0E-1448AB42C6B2}" srcOrd="1" destOrd="0" parTransId="{23BF89C4-1425-41F8-B5B5-D675F04B0C21}" sibTransId="{1660B40C-C237-43E8-B756-61300E97F3F0}"/>
    <dgm:cxn modelId="{067E2D65-E47D-4626-A574-2299D40C8E1C}" type="presOf" srcId="{173195DF-8D44-4A9A-9F0E-1448AB42C6B2}" destId="{D27EF911-B8ED-49DF-99FB-C42A12DB557D}" srcOrd="0" destOrd="1" presId="urn:microsoft.com/office/officeart/2005/8/layout/list1"/>
    <dgm:cxn modelId="{67374546-98E2-485E-A471-290503CB8A5A}" srcId="{E2D18975-96CA-4D90-8739-53E765D15E24}" destId="{A576863F-825B-4598-9786-C787A0D1FF19}" srcOrd="3" destOrd="0" parTransId="{C63475C2-AE36-4816-96DA-9DC0736172E6}" sibTransId="{A41E427C-5DE8-4709-ACF8-ED0385D8B4FE}"/>
    <dgm:cxn modelId="{82E64772-2FB4-44CD-80B6-E9D3BB1C474D}" type="presOf" srcId="{B70892E5-5B5D-4B85-A178-3F57C19ED41A}" destId="{F4D4AF3E-8912-421E-8DD6-C5A8CA36B0E9}" srcOrd="1" destOrd="0" presId="urn:microsoft.com/office/officeart/2005/8/layout/list1"/>
    <dgm:cxn modelId="{055C9952-E982-4535-A3E3-32C4EF371AB4}" srcId="{B70892E5-5B5D-4B85-A178-3F57C19ED41A}" destId="{70EF0D91-82E6-4610-A37F-8241B6118828}" srcOrd="2" destOrd="0" parTransId="{B1BE4F1A-E084-4900-B9D4-70C3CA74261E}" sibTransId="{1BA72B59-CD30-4BD7-818D-AFB47B49A247}"/>
    <dgm:cxn modelId="{F65CD955-A9C3-4105-AA4F-3E0730F87E45}" srcId="{E2D18975-96CA-4D90-8739-53E765D15E24}" destId="{B70892E5-5B5D-4B85-A178-3F57C19ED41A}" srcOrd="2" destOrd="0" parTransId="{83DFDB35-3E97-4B1C-89E6-802114A701A7}" sibTransId="{629E5C46-131A-4ED0-98EB-12A1BC457E67}"/>
    <dgm:cxn modelId="{130C8E77-41B1-4412-87EC-CAE537DC0A1B}" type="presOf" srcId="{A57206F6-5A7D-45E7-9B6A-4C73AA9E0FC0}" destId="{3EEC03F1-CC33-45E4-B4D0-60FD5F3378EB}" srcOrd="1" destOrd="0" presId="urn:microsoft.com/office/officeart/2005/8/layout/list1"/>
    <dgm:cxn modelId="{A6C7E557-0BED-464D-82BF-BAA9B6025637}" type="presOf" srcId="{9D56DF2D-EE60-4E9B-A1B9-41E50F85CD1B}" destId="{48E2D981-42C0-4CED-A6E8-7B1E6C07B756}" srcOrd="0" destOrd="0" presId="urn:microsoft.com/office/officeart/2005/8/layout/list1"/>
    <dgm:cxn modelId="{23459D7B-07A7-4707-8B09-A6190B34E501}" type="presOf" srcId="{B70892E5-5B5D-4B85-A178-3F57C19ED41A}" destId="{F1108401-5D07-45F6-BC4F-BCE0F0B59D07}" srcOrd="0" destOrd="0" presId="urn:microsoft.com/office/officeart/2005/8/layout/list1"/>
    <dgm:cxn modelId="{ED3F2980-AE3F-401B-BD31-B6617B48AE09}" srcId="{A576863F-825B-4598-9786-C787A0D1FF19}" destId="{8A20D8E8-C109-4B1A-A5BF-BD18C4DC3872}" srcOrd="2" destOrd="0" parTransId="{A4295132-0A2A-4C9B-9BD2-79B66F5B5377}" sibTransId="{1D4EAF2A-8197-458E-87DF-1C35414B351A}"/>
    <dgm:cxn modelId="{CD9CDC82-C8F5-4988-9B47-03F8C7C46135}" srcId="{79981024-89CD-4EBA-9861-CAF0C6D3FF0F}" destId="{F2F7D92E-F726-4F93-9768-409EA0AE0907}" srcOrd="1" destOrd="0" parTransId="{76DE6F97-2326-409C-BE78-AD370E3A6903}" sibTransId="{02481A75-D493-4EB3-AAEF-F62E2DAE431E}"/>
    <dgm:cxn modelId="{480FFF83-BDCA-4EF9-8B48-4D27B11AE99E}" type="presOf" srcId="{79981024-89CD-4EBA-9861-CAF0C6D3FF0F}" destId="{299F310D-6865-4045-9429-0B944D7653E7}" srcOrd="1" destOrd="0" presId="urn:microsoft.com/office/officeart/2005/8/layout/list1"/>
    <dgm:cxn modelId="{EB06D285-F501-4FBD-BF39-FB2631114948}" type="presOf" srcId="{D9F04428-C1FE-4A84-A1F3-CAA1EB0C7A04}" destId="{A0FAB3A8-0F21-4178-83BC-46D0812BD9E5}" srcOrd="0" destOrd="1" presId="urn:microsoft.com/office/officeart/2005/8/layout/list1"/>
    <dgm:cxn modelId="{E99EA789-CCD0-434D-95BA-C94DD9D9DB6A}" srcId="{79981024-89CD-4EBA-9861-CAF0C6D3FF0F}" destId="{ECA2790F-0D52-4FEE-98D7-7024330430A1}" srcOrd="0" destOrd="0" parTransId="{69107134-874C-4D8D-B39B-A89AE17E5448}" sibTransId="{86D4A4C8-79D0-426C-87D8-13EF8AF11104}"/>
    <dgm:cxn modelId="{D395D389-F209-480D-B0FD-F13129154031}" type="presOf" srcId="{A576863F-825B-4598-9786-C787A0D1FF19}" destId="{544AED6A-0F00-498C-9FB2-FCCDC4B987F5}" srcOrd="0" destOrd="0" presId="urn:microsoft.com/office/officeart/2005/8/layout/list1"/>
    <dgm:cxn modelId="{484E918A-9EBA-464E-B784-FD479E297354}" srcId="{A57206F6-5A7D-45E7-9B6A-4C73AA9E0FC0}" destId="{AE8C0A58-5B1A-43F6-B791-DA8D0E2363E8}" srcOrd="1" destOrd="0" parTransId="{08509EE0-23FE-4634-9F62-0DA2F4E815A0}" sibTransId="{4C038DF3-D839-4039-A8C9-38C5A457262A}"/>
    <dgm:cxn modelId="{57181693-7824-460B-BAAB-D8136D8D17DA}" type="presOf" srcId="{FCF06D79-7D1A-4AEB-9F9D-7EDFAC34E673}" destId="{2B97CA95-D1A0-468D-982D-5825FFE602FA}" srcOrd="0" destOrd="0" presId="urn:microsoft.com/office/officeart/2005/8/layout/list1"/>
    <dgm:cxn modelId="{8A9CE793-6257-415D-BCCF-DA5454083475}" srcId="{A576863F-825B-4598-9786-C787A0D1FF19}" destId="{9D56DF2D-EE60-4E9B-A1B9-41E50F85CD1B}" srcOrd="0" destOrd="0" parTransId="{918A492C-3DF6-4731-9E52-ACC5C75D0473}" sibTransId="{70AD434F-5A6B-4469-B93A-74E28331A52B}"/>
    <dgm:cxn modelId="{BDF73397-98AF-49C1-8E31-FF6FF9D70CDB}" type="presOf" srcId="{C4BA5F2A-218F-4780-A172-482FB5E242DD}" destId="{2B97CA95-D1A0-468D-982D-5825FFE602FA}" srcOrd="0" destOrd="2" presId="urn:microsoft.com/office/officeart/2005/8/layout/list1"/>
    <dgm:cxn modelId="{161E8CA6-B55E-4A04-A03F-674E15D1E791}" srcId="{E2D18975-96CA-4D90-8739-53E765D15E24}" destId="{3C718E11-23D6-4113-A73B-3F67E632E6AB}" srcOrd="4" destOrd="0" parTransId="{3B149C7D-A7EC-4C01-BD31-6EC6A97688DD}" sibTransId="{66106213-9799-4491-A98C-AB9B6B32AC94}"/>
    <dgm:cxn modelId="{366A4BAD-0731-4767-A44B-D45E1506834B}" type="presOf" srcId="{3C718E11-23D6-4113-A73B-3F67E632E6AB}" destId="{9F9FC5BC-91E6-46AE-8323-24BC3799EF26}" srcOrd="1" destOrd="0" presId="urn:microsoft.com/office/officeart/2005/8/layout/list1"/>
    <dgm:cxn modelId="{ACFAEFAE-0696-4AC0-A1DA-6F3530E1E79A}" type="presOf" srcId="{A57206F6-5A7D-45E7-9B6A-4C73AA9E0FC0}" destId="{23CB6195-3065-4728-A9F9-867A82A00350}" srcOrd="0" destOrd="0" presId="urn:microsoft.com/office/officeart/2005/8/layout/list1"/>
    <dgm:cxn modelId="{537443AF-0D5D-48F2-BA5F-441E9EDC7B41}" type="presOf" srcId="{E664A2C1-30CB-4423-BFED-DF1695F62ABE}" destId="{D27EF911-B8ED-49DF-99FB-C42A12DB557D}" srcOrd="0" destOrd="0" presId="urn:microsoft.com/office/officeart/2005/8/layout/list1"/>
    <dgm:cxn modelId="{4ECD0FB6-51DA-48BF-93B7-9BE65F5CDF5C}" srcId="{A57206F6-5A7D-45E7-9B6A-4C73AA9E0FC0}" destId="{C4BA5F2A-218F-4780-A172-482FB5E242DD}" srcOrd="2" destOrd="0" parTransId="{F5677397-6E88-404E-9A30-11CE64D3E2CA}" sibTransId="{278D9CE4-C292-41CD-AA0A-6B73DBACAD8F}"/>
    <dgm:cxn modelId="{FA3A10BE-C99C-4DD5-8A99-E51C45486654}" type="presOf" srcId="{40BFB1F9-1E04-425A-9A4D-BFC9B361EF94}" destId="{35425963-D49F-4E6D-ACAD-7C38F131E15D}" srcOrd="0" destOrd="2" presId="urn:microsoft.com/office/officeart/2005/8/layout/list1"/>
    <dgm:cxn modelId="{C5847CC6-5B41-4731-9F33-F72A4D0DD9A2}" type="presOf" srcId="{AE8C0A58-5B1A-43F6-B791-DA8D0E2363E8}" destId="{2B97CA95-D1A0-468D-982D-5825FFE602FA}" srcOrd="0" destOrd="1" presId="urn:microsoft.com/office/officeart/2005/8/layout/list1"/>
    <dgm:cxn modelId="{DD1C5AD0-1588-4DCC-A413-35EFC3A20A42}" srcId="{79981024-89CD-4EBA-9861-CAF0C6D3FF0F}" destId="{40BFB1F9-1E04-425A-9A4D-BFC9B361EF94}" srcOrd="2" destOrd="0" parTransId="{0C0DAE94-B634-40E2-82F9-BA239AB63631}" sibTransId="{53BF15C2-13A3-4EF3-BF58-679568EA3FE7}"/>
    <dgm:cxn modelId="{E21D16D4-48F3-413C-84B8-C7C4CE6A662F}" type="presOf" srcId="{ECA2790F-0D52-4FEE-98D7-7024330430A1}" destId="{35425963-D49F-4E6D-ACAD-7C38F131E15D}" srcOrd="0" destOrd="0" presId="urn:microsoft.com/office/officeart/2005/8/layout/list1"/>
    <dgm:cxn modelId="{7B24C7EA-9F82-4B4D-BC9E-2059A0F11777}" type="presOf" srcId="{24752CC5-79E3-4E37-9952-A3A278EDA4B6}" destId="{A0FAB3A8-0F21-4178-83BC-46D0812BD9E5}" srcOrd="0" destOrd="0" presId="urn:microsoft.com/office/officeart/2005/8/layout/list1"/>
    <dgm:cxn modelId="{D971B5EE-642F-4BDB-A1F6-D8D1E4B6A10E}" type="presOf" srcId="{70EF0D91-82E6-4610-A37F-8241B6118828}" destId="{A0FAB3A8-0F21-4178-83BC-46D0812BD9E5}" srcOrd="0" destOrd="2" presId="urn:microsoft.com/office/officeart/2005/8/layout/list1"/>
    <dgm:cxn modelId="{AA757CF0-7358-4710-83F6-EEE104815338}" type="presOf" srcId="{F2F7D92E-F726-4F93-9768-409EA0AE0907}" destId="{35425963-D49F-4E6D-ACAD-7C38F131E15D}" srcOrd="0" destOrd="1" presId="urn:microsoft.com/office/officeart/2005/8/layout/list1"/>
    <dgm:cxn modelId="{75CAFDF1-9429-432B-B037-DB54E773F844}" srcId="{3C718E11-23D6-4113-A73B-3F67E632E6AB}" destId="{E664A2C1-30CB-4423-BFED-DF1695F62ABE}" srcOrd="0" destOrd="0" parTransId="{3210AC4B-168A-4E6E-A605-1525C4A2102B}" sibTransId="{B33E2B18-7421-42F7-9994-114312F8F947}"/>
    <dgm:cxn modelId="{D4FCB3F4-96C1-416A-A556-AAB4F6CF1B73}" srcId="{A57206F6-5A7D-45E7-9B6A-4C73AA9E0FC0}" destId="{FCF06D79-7D1A-4AEB-9F9D-7EDFAC34E673}" srcOrd="0" destOrd="0" parTransId="{14DBAE0A-22F6-4900-93CE-95C92AD4EA3F}" sibTransId="{56ADF2EE-24D0-4A45-A27F-67FE0B59B814}"/>
    <dgm:cxn modelId="{D31091F9-2F27-446A-8BD5-131CA5D610E4}" type="presOf" srcId="{79981024-89CD-4EBA-9861-CAF0C6D3FF0F}" destId="{6F3F87C7-0DFF-4193-BC08-B25F6AE58901}" srcOrd="0" destOrd="0" presId="urn:microsoft.com/office/officeart/2005/8/layout/list1"/>
    <dgm:cxn modelId="{64824729-331B-4C3E-A35D-97E39A6F4643}" type="presParOf" srcId="{73EA9568-F835-4762-B34A-840184328A08}" destId="{EDC750F7-F251-4283-9A34-AF7FD3050ACD}" srcOrd="0" destOrd="0" presId="urn:microsoft.com/office/officeart/2005/8/layout/list1"/>
    <dgm:cxn modelId="{D4DFE048-639E-48EF-BB87-215241645EF5}" type="presParOf" srcId="{EDC750F7-F251-4283-9A34-AF7FD3050ACD}" destId="{6F3F87C7-0DFF-4193-BC08-B25F6AE58901}" srcOrd="0" destOrd="0" presId="urn:microsoft.com/office/officeart/2005/8/layout/list1"/>
    <dgm:cxn modelId="{1432034C-F89A-4DD0-8768-78E524494065}" type="presParOf" srcId="{EDC750F7-F251-4283-9A34-AF7FD3050ACD}" destId="{299F310D-6865-4045-9429-0B944D7653E7}" srcOrd="1" destOrd="0" presId="urn:microsoft.com/office/officeart/2005/8/layout/list1"/>
    <dgm:cxn modelId="{51D87741-0188-4F1B-AD61-9E001A94DCDB}" type="presParOf" srcId="{73EA9568-F835-4762-B34A-840184328A08}" destId="{46E5F1E8-F633-4CFD-BC86-E3A630D824DD}" srcOrd="1" destOrd="0" presId="urn:microsoft.com/office/officeart/2005/8/layout/list1"/>
    <dgm:cxn modelId="{E2360182-C8E0-458A-BCD7-7348E0BCE4AA}" type="presParOf" srcId="{73EA9568-F835-4762-B34A-840184328A08}" destId="{35425963-D49F-4E6D-ACAD-7C38F131E15D}" srcOrd="2" destOrd="0" presId="urn:microsoft.com/office/officeart/2005/8/layout/list1"/>
    <dgm:cxn modelId="{F13D99D6-DE2C-4B1C-88E8-1894AA749DDD}" type="presParOf" srcId="{73EA9568-F835-4762-B34A-840184328A08}" destId="{C8CE1465-03BF-4E62-A27D-BCF49361B69A}" srcOrd="3" destOrd="0" presId="urn:microsoft.com/office/officeart/2005/8/layout/list1"/>
    <dgm:cxn modelId="{14F6FFCB-E0E4-48DB-8ED8-025869B6F5BB}" type="presParOf" srcId="{73EA9568-F835-4762-B34A-840184328A08}" destId="{ED2C1A16-6487-4B86-AE2F-BA611AAC03A2}" srcOrd="4" destOrd="0" presId="urn:microsoft.com/office/officeart/2005/8/layout/list1"/>
    <dgm:cxn modelId="{583897BD-4026-4C65-A791-F143DED5ACF5}" type="presParOf" srcId="{ED2C1A16-6487-4B86-AE2F-BA611AAC03A2}" destId="{23CB6195-3065-4728-A9F9-867A82A00350}" srcOrd="0" destOrd="0" presId="urn:microsoft.com/office/officeart/2005/8/layout/list1"/>
    <dgm:cxn modelId="{F47B9414-AC9B-43B8-9F30-554012A7C44D}" type="presParOf" srcId="{ED2C1A16-6487-4B86-AE2F-BA611AAC03A2}" destId="{3EEC03F1-CC33-45E4-B4D0-60FD5F3378EB}" srcOrd="1" destOrd="0" presId="urn:microsoft.com/office/officeart/2005/8/layout/list1"/>
    <dgm:cxn modelId="{761AAAB0-7FE1-40CC-A725-492C79E2BEBC}" type="presParOf" srcId="{73EA9568-F835-4762-B34A-840184328A08}" destId="{C449B38D-438F-4D25-B857-C1C7A507CA81}" srcOrd="5" destOrd="0" presId="urn:microsoft.com/office/officeart/2005/8/layout/list1"/>
    <dgm:cxn modelId="{0BEEB995-7EF5-4403-A00E-C5AE8828698D}" type="presParOf" srcId="{73EA9568-F835-4762-B34A-840184328A08}" destId="{2B97CA95-D1A0-468D-982D-5825FFE602FA}" srcOrd="6" destOrd="0" presId="urn:microsoft.com/office/officeart/2005/8/layout/list1"/>
    <dgm:cxn modelId="{1458B457-152B-4A76-BD58-55F1585D9086}" type="presParOf" srcId="{73EA9568-F835-4762-B34A-840184328A08}" destId="{B82F94FC-F04F-4002-A305-E92F2A693AED}" srcOrd="7" destOrd="0" presId="urn:microsoft.com/office/officeart/2005/8/layout/list1"/>
    <dgm:cxn modelId="{6D482D9F-59BA-4E9C-A64C-E16657D4919B}" type="presParOf" srcId="{73EA9568-F835-4762-B34A-840184328A08}" destId="{6859445A-03AB-437F-B8D3-B12DF3FA0DAA}" srcOrd="8" destOrd="0" presId="urn:microsoft.com/office/officeart/2005/8/layout/list1"/>
    <dgm:cxn modelId="{DD15B560-94C4-42CC-AEFC-0EF0ECF2B2F7}" type="presParOf" srcId="{6859445A-03AB-437F-B8D3-B12DF3FA0DAA}" destId="{F1108401-5D07-45F6-BC4F-BCE0F0B59D07}" srcOrd="0" destOrd="0" presId="urn:microsoft.com/office/officeart/2005/8/layout/list1"/>
    <dgm:cxn modelId="{5B4252FE-57EA-41EE-926E-B400E15D620B}" type="presParOf" srcId="{6859445A-03AB-437F-B8D3-B12DF3FA0DAA}" destId="{F4D4AF3E-8912-421E-8DD6-C5A8CA36B0E9}" srcOrd="1" destOrd="0" presId="urn:microsoft.com/office/officeart/2005/8/layout/list1"/>
    <dgm:cxn modelId="{E310214D-9D4F-46A4-970D-72BD8EC136F9}" type="presParOf" srcId="{73EA9568-F835-4762-B34A-840184328A08}" destId="{240FCB02-C959-4990-B02E-4EC48D0CB032}" srcOrd="9" destOrd="0" presId="urn:microsoft.com/office/officeart/2005/8/layout/list1"/>
    <dgm:cxn modelId="{E90A4938-68E8-4C65-8EC6-6358C8749FC9}" type="presParOf" srcId="{73EA9568-F835-4762-B34A-840184328A08}" destId="{A0FAB3A8-0F21-4178-83BC-46D0812BD9E5}" srcOrd="10" destOrd="0" presId="urn:microsoft.com/office/officeart/2005/8/layout/list1"/>
    <dgm:cxn modelId="{464AE65A-44C7-4E85-A3B6-903E454FEB40}" type="presParOf" srcId="{73EA9568-F835-4762-B34A-840184328A08}" destId="{FC99989E-8C01-4234-9C9A-DB9E92988C3E}" srcOrd="11" destOrd="0" presId="urn:microsoft.com/office/officeart/2005/8/layout/list1"/>
    <dgm:cxn modelId="{316841A9-8500-4FFC-8E2D-439F689F32B8}" type="presParOf" srcId="{73EA9568-F835-4762-B34A-840184328A08}" destId="{66AD8B7D-C9AC-433F-94FF-7B5BA12D2E6C}" srcOrd="12" destOrd="0" presId="urn:microsoft.com/office/officeart/2005/8/layout/list1"/>
    <dgm:cxn modelId="{CA12748E-C1DC-4E98-9A3D-91BE0258FCB0}" type="presParOf" srcId="{66AD8B7D-C9AC-433F-94FF-7B5BA12D2E6C}" destId="{544AED6A-0F00-498C-9FB2-FCCDC4B987F5}" srcOrd="0" destOrd="0" presId="urn:microsoft.com/office/officeart/2005/8/layout/list1"/>
    <dgm:cxn modelId="{C5DE4D77-1EB0-4617-8706-98D8DEE2449A}" type="presParOf" srcId="{66AD8B7D-C9AC-433F-94FF-7B5BA12D2E6C}" destId="{03A48144-8991-4B3F-B660-9C69AF62BA83}" srcOrd="1" destOrd="0" presId="urn:microsoft.com/office/officeart/2005/8/layout/list1"/>
    <dgm:cxn modelId="{8DC64302-0EB4-4C60-84F3-9699B45C397C}" type="presParOf" srcId="{73EA9568-F835-4762-B34A-840184328A08}" destId="{D0B1CE6A-5AD7-4768-9DC8-A7F1BC87D92B}" srcOrd="13" destOrd="0" presId="urn:microsoft.com/office/officeart/2005/8/layout/list1"/>
    <dgm:cxn modelId="{E3FC5534-31A5-44D6-B6B3-C97291B65460}" type="presParOf" srcId="{73EA9568-F835-4762-B34A-840184328A08}" destId="{48E2D981-42C0-4CED-A6E8-7B1E6C07B756}" srcOrd="14" destOrd="0" presId="urn:microsoft.com/office/officeart/2005/8/layout/list1"/>
    <dgm:cxn modelId="{91CAC643-3915-45D9-9061-18CB90222121}" type="presParOf" srcId="{73EA9568-F835-4762-B34A-840184328A08}" destId="{7334B319-D2F4-4694-BE1E-404CBF5B1C03}" srcOrd="15" destOrd="0" presId="urn:microsoft.com/office/officeart/2005/8/layout/list1"/>
    <dgm:cxn modelId="{9DA9F249-74AC-451D-B8E9-120204FCDF2F}" type="presParOf" srcId="{73EA9568-F835-4762-B34A-840184328A08}" destId="{5498A00E-A399-44DC-9933-75B189056369}" srcOrd="16" destOrd="0" presId="urn:microsoft.com/office/officeart/2005/8/layout/list1"/>
    <dgm:cxn modelId="{D6CAB929-8756-4429-A611-F1A886D0A427}" type="presParOf" srcId="{5498A00E-A399-44DC-9933-75B189056369}" destId="{BDE58A76-0DC0-46F2-B793-40168F539D5C}" srcOrd="0" destOrd="0" presId="urn:microsoft.com/office/officeart/2005/8/layout/list1"/>
    <dgm:cxn modelId="{26F1B856-D9FB-479B-80D9-C3BFE2E557CB}" type="presParOf" srcId="{5498A00E-A399-44DC-9933-75B189056369}" destId="{9F9FC5BC-91E6-46AE-8323-24BC3799EF26}" srcOrd="1" destOrd="0" presId="urn:microsoft.com/office/officeart/2005/8/layout/list1"/>
    <dgm:cxn modelId="{7E8FFAF6-49B1-43EA-A80A-031EAEBBADB7}" type="presParOf" srcId="{73EA9568-F835-4762-B34A-840184328A08}" destId="{BED32752-2FCD-4ADF-840B-FEA1D398607C}" srcOrd="17" destOrd="0" presId="urn:microsoft.com/office/officeart/2005/8/layout/list1"/>
    <dgm:cxn modelId="{6E7B4793-F3D2-4024-B081-044433B5E423}" type="presParOf" srcId="{73EA9568-F835-4762-B34A-840184328A08}" destId="{D27EF911-B8ED-49DF-99FB-C42A12DB557D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425963-D49F-4E6D-ACAD-7C38F131E15D}">
      <dsp:nvSpPr>
        <dsp:cNvPr id="0" name=""/>
        <dsp:cNvSpPr/>
      </dsp:nvSpPr>
      <dsp:spPr>
        <a:xfrm>
          <a:off x="0" y="201789"/>
          <a:ext cx="5451983" cy="7938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3135" tIns="145796" rIns="423135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Equity and Debt Financing in hard and local currency</a:t>
          </a:r>
          <a:endParaRPr lang="en-US" sz="1200" kern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In-house technical, market and regulatory expertis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Ability to participate at all levels of the capital structure</a:t>
          </a:r>
        </a:p>
      </dsp:txBody>
      <dsp:txXfrm>
        <a:off x="0" y="201789"/>
        <a:ext cx="5451983" cy="793800"/>
      </dsp:txXfrm>
    </dsp:sp>
    <dsp:sp modelId="{299F310D-6865-4045-9429-0B944D7653E7}">
      <dsp:nvSpPr>
        <dsp:cNvPr id="0" name=""/>
        <dsp:cNvSpPr/>
      </dsp:nvSpPr>
      <dsp:spPr>
        <a:xfrm>
          <a:off x="272599" y="98469"/>
          <a:ext cx="3816388" cy="20664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250" tIns="0" rIns="144250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ja-JP" sz="1200" b="1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Financial Structuring &amp; Industry Knowledge</a:t>
          </a:r>
          <a:endParaRPr lang="en-US" sz="1200" b="1" kern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</dsp:txBody>
      <dsp:txXfrm>
        <a:off x="282686" y="108556"/>
        <a:ext cx="3796214" cy="186466"/>
      </dsp:txXfrm>
    </dsp:sp>
    <dsp:sp modelId="{2B97CA95-D1A0-468D-982D-5825FFE602FA}">
      <dsp:nvSpPr>
        <dsp:cNvPr id="0" name=""/>
        <dsp:cNvSpPr/>
      </dsp:nvSpPr>
      <dsp:spPr>
        <a:xfrm>
          <a:off x="0" y="1136709"/>
          <a:ext cx="5451983" cy="7938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3135" tIns="145796" rIns="423135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Extensive relationships with key strategic players </a:t>
          </a:r>
          <a:endParaRPr lang="en-US" sz="1200" kern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20+ local offices and more than 180 professional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Able to draw on EM best practices from global portfolio</a:t>
          </a:r>
        </a:p>
      </dsp:txBody>
      <dsp:txXfrm>
        <a:off x="0" y="1136709"/>
        <a:ext cx="5451983" cy="793800"/>
      </dsp:txXfrm>
    </dsp:sp>
    <dsp:sp modelId="{3EEC03F1-CC33-45E4-B4D0-60FD5F3378EB}">
      <dsp:nvSpPr>
        <dsp:cNvPr id="0" name=""/>
        <dsp:cNvSpPr/>
      </dsp:nvSpPr>
      <dsp:spPr>
        <a:xfrm>
          <a:off x="272599" y="1033389"/>
          <a:ext cx="3816388" cy="20664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250" tIns="0" rIns="144250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" lastClr="FFFFFF"/>
              </a:solidFill>
              <a:latin typeface="Montserrat" panose="00000500000000000000" pitchFamily="2" charset="0"/>
              <a:ea typeface="+mn-ea"/>
              <a:cs typeface="+mn-cs"/>
            </a:rPr>
            <a:t>Global &amp; Local Knowledge</a:t>
          </a:r>
        </a:p>
      </dsp:txBody>
      <dsp:txXfrm>
        <a:off x="282686" y="1043476"/>
        <a:ext cx="3796214" cy="186466"/>
      </dsp:txXfrm>
    </dsp:sp>
    <dsp:sp modelId="{A0FAB3A8-0F21-4178-83BC-46D0812BD9E5}">
      <dsp:nvSpPr>
        <dsp:cNvPr id="0" name=""/>
        <dsp:cNvSpPr/>
      </dsp:nvSpPr>
      <dsp:spPr>
        <a:xfrm>
          <a:off x="0" y="2071629"/>
          <a:ext cx="5451983" cy="9702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3135" tIns="145796" rIns="423135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Strong relations with Governments and Public Entities</a:t>
          </a:r>
          <a:endParaRPr lang="en-US" sz="1200" kern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MIGA &amp; PRG insurance product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Special initiatives, e.g. MCPP, Scaling Solar Power, SME Ventures Initiative</a:t>
          </a:r>
        </a:p>
      </dsp:txBody>
      <dsp:txXfrm>
        <a:off x="0" y="2071629"/>
        <a:ext cx="5451983" cy="970200"/>
      </dsp:txXfrm>
    </dsp:sp>
    <dsp:sp modelId="{F4D4AF3E-8912-421E-8DD6-C5A8CA36B0E9}">
      <dsp:nvSpPr>
        <dsp:cNvPr id="0" name=""/>
        <dsp:cNvSpPr/>
      </dsp:nvSpPr>
      <dsp:spPr>
        <a:xfrm>
          <a:off x="272599" y="1968309"/>
          <a:ext cx="3816388" cy="20664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250" tIns="0" rIns="144250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" lastClr="FFFFFF"/>
              </a:solidFill>
              <a:latin typeface="Montserrat" panose="00000500000000000000" pitchFamily="2" charset="0"/>
              <a:ea typeface="+mn-ea"/>
              <a:cs typeface="+mn-cs"/>
            </a:rPr>
            <a:t>Leveraging WBG Products</a:t>
          </a:r>
        </a:p>
      </dsp:txBody>
      <dsp:txXfrm>
        <a:off x="282686" y="1978396"/>
        <a:ext cx="3796214" cy="186466"/>
      </dsp:txXfrm>
    </dsp:sp>
    <dsp:sp modelId="{48E2D981-42C0-4CED-A6E8-7B1E6C07B756}">
      <dsp:nvSpPr>
        <dsp:cNvPr id="0" name=""/>
        <dsp:cNvSpPr/>
      </dsp:nvSpPr>
      <dsp:spPr>
        <a:xfrm>
          <a:off x="0" y="3182949"/>
          <a:ext cx="5451983" cy="79380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3135" tIns="145796" rIns="423135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Advice on ESG best practices</a:t>
          </a:r>
          <a:endParaRPr lang="en-US" sz="1200" kern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Local consultation and disclosur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Best in class on ESG standards</a:t>
          </a:r>
        </a:p>
      </dsp:txBody>
      <dsp:txXfrm>
        <a:off x="0" y="3182949"/>
        <a:ext cx="5451983" cy="793800"/>
      </dsp:txXfrm>
    </dsp:sp>
    <dsp:sp modelId="{03A48144-8991-4B3F-B660-9C69AF62BA83}">
      <dsp:nvSpPr>
        <dsp:cNvPr id="0" name=""/>
        <dsp:cNvSpPr/>
      </dsp:nvSpPr>
      <dsp:spPr>
        <a:xfrm>
          <a:off x="272599" y="3079629"/>
          <a:ext cx="3816388" cy="20664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250" tIns="0" rIns="144250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ja-JP" sz="1200" b="1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Environmental, Social and Governance</a:t>
          </a:r>
          <a:endParaRPr lang="en-US" sz="1200" b="1" kern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</dsp:txBody>
      <dsp:txXfrm>
        <a:off x="282686" y="3089716"/>
        <a:ext cx="3796214" cy="186466"/>
      </dsp:txXfrm>
    </dsp:sp>
    <dsp:sp modelId="{D27EF911-B8ED-49DF-99FB-C42A12DB557D}">
      <dsp:nvSpPr>
        <dsp:cNvPr id="0" name=""/>
        <dsp:cNvSpPr/>
      </dsp:nvSpPr>
      <dsp:spPr>
        <a:xfrm>
          <a:off x="0" y="4117868"/>
          <a:ext cx="5451983" cy="771750"/>
        </a:xfrm>
        <a:prstGeom prst="rect">
          <a:avLst/>
        </a:prstGeom>
        <a:solidFill>
          <a:srgbClr val="00ADE4"/>
        </a:solidFill>
        <a:ln w="25400" cap="flat" cmpd="sng" algn="ctr">
          <a:solidFill>
            <a:srgbClr val="021F43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3135" tIns="145796" rIns="423135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Advisory programs, including local supplier development, corporate governance, community development</a:t>
          </a:r>
          <a:endParaRPr lang="en-US" sz="1200" kern="1200" dirty="0">
            <a:solidFill>
              <a:sysClr val="window" lastClr="FFFFFF"/>
            </a:solidFill>
            <a:latin typeface="Montserrat" panose="00000500000000000000" pitchFamily="2" charset="0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altLang="ja-JP" sz="1200" kern="1200" dirty="0">
              <a:solidFill>
                <a:sysClr val="window" lastClr="FFFFFF"/>
              </a:solidFill>
              <a:latin typeface="Montserrat" panose="00000500000000000000" pitchFamily="2" charset="0"/>
              <a:ea typeface="ＭＳ 明朝" panose="02020609040205080304" pitchFamily="49" charset="-128"/>
              <a:cs typeface="+mn-cs"/>
            </a:rPr>
            <a:t>SME capacity building</a:t>
          </a:r>
        </a:p>
      </dsp:txBody>
      <dsp:txXfrm>
        <a:off x="0" y="4117868"/>
        <a:ext cx="5451983" cy="771750"/>
      </dsp:txXfrm>
    </dsp:sp>
    <dsp:sp modelId="{9F9FC5BC-91E6-46AE-8323-24BC3799EF26}">
      <dsp:nvSpPr>
        <dsp:cNvPr id="0" name=""/>
        <dsp:cNvSpPr/>
      </dsp:nvSpPr>
      <dsp:spPr>
        <a:xfrm>
          <a:off x="272599" y="4014549"/>
          <a:ext cx="3816388" cy="206640"/>
        </a:xfrm>
        <a:prstGeom prst="roundRect">
          <a:avLst/>
        </a:prstGeom>
        <a:solidFill>
          <a:srgbClr val="021F43"/>
        </a:solidFill>
        <a:ln w="25400" cap="flat" cmpd="sng" algn="ctr">
          <a:solidFill>
            <a:srgbClr val="021F43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250" tIns="0" rIns="144250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ysClr val="window" lastClr="FFFFFF"/>
              </a:solidFill>
              <a:latin typeface="Montserrat" panose="00000500000000000000" pitchFamily="2" charset="0"/>
              <a:ea typeface="+mn-ea"/>
              <a:cs typeface="+mn-cs"/>
            </a:rPr>
            <a:t>Advice</a:t>
          </a:r>
        </a:p>
      </dsp:txBody>
      <dsp:txXfrm>
        <a:off x="282686" y="4024636"/>
        <a:ext cx="3796214" cy="1864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654</cdr:x>
      <cdr:y>0.10956</cdr:y>
    </cdr:from>
    <cdr:to>
      <cdr:x>0.67095</cdr:x>
      <cdr:y>0.1095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98CE7A08-2A52-4FDC-93F9-C61FA9662C37}"/>
            </a:ext>
          </a:extLst>
        </cdr:cNvPr>
        <cdr:cNvCxnSpPr/>
      </cdr:nvCxnSpPr>
      <cdr:spPr>
        <a:xfrm xmlns:a="http://schemas.openxmlformats.org/drawingml/2006/main">
          <a:off x="455198" y="283382"/>
          <a:ext cx="3073808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FFC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3358</cdr:x>
      <cdr:y>0.05562</cdr:y>
    </cdr:from>
    <cdr:to>
      <cdr:x>0.6951</cdr:x>
      <cdr:y>0.11103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F54FEE67-39C6-46F6-A143-88B45B8D7C42}"/>
            </a:ext>
          </a:extLst>
        </cdr:cNvPr>
        <cdr:cNvSpPr txBox="1"/>
      </cdr:nvSpPr>
      <cdr:spPr>
        <a:xfrm xmlns:a="http://schemas.openxmlformats.org/drawingml/2006/main">
          <a:off x="2806463" y="143879"/>
          <a:ext cx="849565" cy="1433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400" b="1" dirty="0">
              <a:solidFill>
                <a:srgbClr val="002F54"/>
              </a:solidFill>
              <a:latin typeface="Montserrat" panose="00000500000000000000" pitchFamily="2" charset="0"/>
            </a:rPr>
            <a:t>High income countrie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2058B63-54B7-4AFD-B461-163FCBD4F0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AB9689-FEDD-4F94-B74A-724C29BB60B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A30FE-C0AA-47E3-8E9F-3C4AD0B886AE}" type="datetimeFigureOut">
              <a:rPr lang="en-US" smtClean="0"/>
              <a:t>6/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A6357C-803B-4180-9366-8204293B7CD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2DA1D1-8A59-443D-AC95-DEB42224E91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07FF44-9E0E-4238-953E-A320473915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0749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C2D30D-7986-4C17-995C-BCE23FDC408A}" type="datetimeFigureOut">
              <a:rPr lang="pt-BR" smtClean="0"/>
              <a:t>03/06/2022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8F13DE-13F5-486C-95C6-8D992E43D40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77920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7713" y="1143000"/>
            <a:ext cx="5484812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233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2BE3D54-731B-1B47-B5E8-D6CF9E4FCA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1233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223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8F13DE-13F5-486C-95C6-8D992E43D407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660068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8F13DE-13F5-486C-95C6-8D992E43D407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56000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110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jpe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7028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9099949-67D0-408B-B799-F31340080B79}"/>
              </a:ext>
            </a:extLst>
          </p:cNvPr>
          <p:cNvGrpSpPr/>
          <p:nvPr userDrawn="1"/>
        </p:nvGrpSpPr>
        <p:grpSpPr>
          <a:xfrm flipH="1">
            <a:off x="7679081" y="52832"/>
            <a:ext cx="6017789" cy="7379647"/>
            <a:chOff x="-1969102" y="-1166815"/>
            <a:chExt cx="7095720" cy="8701520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1A8E56-AB6E-4EC6-96D4-B6619286A96D}"/>
                </a:ext>
              </a:extLst>
            </p:cNvPr>
            <p:cNvSpPr/>
            <p:nvPr userDrawn="1"/>
          </p:nvSpPr>
          <p:spPr>
            <a:xfrm>
              <a:off x="-1969102" y="-1166815"/>
              <a:ext cx="7095720" cy="8701520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76FFDC-52E2-4257-A555-1FF5EE9CA023}"/>
                </a:ext>
              </a:extLst>
            </p:cNvPr>
            <p:cNvSpPr/>
            <p:nvPr userDrawn="1"/>
          </p:nvSpPr>
          <p:spPr>
            <a:xfrm>
              <a:off x="-194674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 flipH="1">
            <a:off x="-289916" y="-28689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A914071C-2A8D-406D-A480-FD99F0751EE2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426425" y="6275832"/>
            <a:ext cx="1562469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447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yout with two content boxes with wide g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&#10;&#10;Description automatically generated">
            <a:extLst>
              <a:ext uri="{FF2B5EF4-FFF2-40B4-BE49-F238E27FC236}">
                <a16:creationId xmlns:a16="http://schemas.microsoft.com/office/drawing/2014/main" id="{ED1C28C3-FDD6-4044-A1B8-7100A2B23B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" t="7844" b="8095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64CDA90-8FE5-4CF4-A138-C77686DC59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13D5F">
                  <a:alpha val="82000"/>
                </a:srgbClr>
              </a:gs>
              <a:gs pos="98000">
                <a:srgbClr val="0585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AA60E-B241-4948-8943-623B28ED76FD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426425" y="6275832"/>
            <a:ext cx="1562469" cy="40233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70AB66A-C793-4447-81CA-C33D27228799}"/>
              </a:ext>
            </a:extLst>
          </p:cNvPr>
          <p:cNvSpPr/>
          <p:nvPr userDrawn="1"/>
        </p:nvSpPr>
        <p:spPr>
          <a:xfrm>
            <a:off x="2682684" y="103372"/>
            <a:ext cx="2483119" cy="2483119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432EC6D-BFA9-4986-A081-16ADC07705F4}"/>
              </a:ext>
            </a:extLst>
          </p:cNvPr>
          <p:cNvGrpSpPr/>
          <p:nvPr userDrawn="1"/>
        </p:nvGrpSpPr>
        <p:grpSpPr>
          <a:xfrm>
            <a:off x="0" y="1054937"/>
            <a:ext cx="4722389" cy="5806837"/>
            <a:chOff x="0" y="14793"/>
            <a:chExt cx="5568283" cy="6846981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6E3FB94-8452-4F0F-AA95-4C1BEC226C44}"/>
                </a:ext>
              </a:extLst>
            </p:cNvPr>
            <p:cNvSpPr/>
            <p:nvPr userDrawn="1"/>
          </p:nvSpPr>
          <p:spPr>
            <a:xfrm>
              <a:off x="0" y="14793"/>
              <a:ext cx="5568283" cy="6828414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4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E897540-3182-46D1-8147-D55983FA0388}"/>
                </a:ext>
              </a:extLst>
            </p:cNvPr>
            <p:cNvSpPr/>
            <p:nvPr userDrawn="1"/>
          </p:nvSpPr>
          <p:spPr>
            <a:xfrm>
              <a:off x="0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B5DA565-FEB0-405E-AFB6-81150C7F7993}"/>
              </a:ext>
            </a:extLst>
          </p:cNvPr>
          <p:cNvGrpSpPr/>
          <p:nvPr userDrawn="1"/>
        </p:nvGrpSpPr>
        <p:grpSpPr>
          <a:xfrm>
            <a:off x="11103063" y="-286893"/>
            <a:ext cx="1341831" cy="1341831"/>
            <a:chOff x="10699753" y="151257"/>
            <a:chExt cx="1341831" cy="1341831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C236AD1-A14A-409C-BDC3-CCFDEA4E0386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A2D3619-2FD7-40A4-B9B3-C5B0F58046FC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9674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168">
          <p15:clr>
            <a:srgbClr val="FBAE40"/>
          </p15:clr>
        </p15:guide>
        <p15:guide id="3" pos="7512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39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Layout with two content boxes with wide g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&#10;&#10;Description automatically generated">
            <a:extLst>
              <a:ext uri="{FF2B5EF4-FFF2-40B4-BE49-F238E27FC236}">
                <a16:creationId xmlns:a16="http://schemas.microsoft.com/office/drawing/2014/main" id="{ED1C28C3-FDD6-4044-A1B8-7100A2B23B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" t="7844" b="8095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64CDA90-8FE5-4CF4-A138-C77686DC59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13D5F">
                  <a:alpha val="82000"/>
                </a:srgbClr>
              </a:gs>
              <a:gs pos="98000">
                <a:srgbClr val="0585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AA60E-B241-4948-8943-623B28ED76FD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426425" y="6275832"/>
            <a:ext cx="1562469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779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168">
          <p15:clr>
            <a:srgbClr val="FBAE40"/>
          </p15:clr>
        </p15:guide>
        <p15:guide id="3" pos="7512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393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Layout with two content boxes with wide g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841F59B-6071-40B1-9DB9-E93D0821E3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864" b="7864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13A52B2-A188-4520-8ED2-A92D427E90A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13D5F">
                  <a:alpha val="82000"/>
                </a:srgbClr>
              </a:gs>
              <a:gs pos="98000">
                <a:srgbClr val="0585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C0B061C-6F4D-430A-A5B9-F79379559F3A}"/>
              </a:ext>
            </a:extLst>
          </p:cNvPr>
          <p:cNvSpPr/>
          <p:nvPr userDrawn="1"/>
        </p:nvSpPr>
        <p:spPr>
          <a:xfrm>
            <a:off x="0" y="-3774"/>
            <a:ext cx="4310459" cy="6865548"/>
          </a:xfrm>
          <a:custGeom>
            <a:avLst/>
            <a:gdLst>
              <a:gd name="connsiteX0" fmla="*/ 0 w 4310459"/>
              <a:gd name="connsiteY0" fmla="*/ 0 h 6865548"/>
              <a:gd name="connsiteX1" fmla="*/ 2526971 w 4310459"/>
              <a:gd name="connsiteY1" fmla="*/ 0 h 6865548"/>
              <a:gd name="connsiteX2" fmla="*/ 2781243 w 4310459"/>
              <a:gd name="connsiteY2" fmla="*/ 190141 h 6865548"/>
              <a:gd name="connsiteX3" fmla="*/ 4310459 w 4310459"/>
              <a:gd name="connsiteY3" fmla="*/ 3432774 h 6865548"/>
              <a:gd name="connsiteX4" fmla="*/ 2622496 w 4310459"/>
              <a:gd name="connsiteY4" fmla="*/ 6800158 h 6865548"/>
              <a:gd name="connsiteX5" fmla="*/ 2530542 w 4310459"/>
              <a:gd name="connsiteY5" fmla="*/ 6865548 h 6865548"/>
              <a:gd name="connsiteX6" fmla="*/ 0 w 4310459"/>
              <a:gd name="connsiteY6" fmla="*/ 6865548 h 6865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10459" h="6865548">
                <a:moveTo>
                  <a:pt x="0" y="0"/>
                </a:moveTo>
                <a:lnTo>
                  <a:pt x="2526971" y="0"/>
                </a:lnTo>
                <a:lnTo>
                  <a:pt x="2781243" y="190141"/>
                </a:lnTo>
                <a:cubicBezTo>
                  <a:pt x="3715174" y="960889"/>
                  <a:pt x="4310459" y="2127314"/>
                  <a:pt x="4310459" y="3432774"/>
                </a:cubicBezTo>
                <a:cubicBezTo>
                  <a:pt x="4310459" y="4810761"/>
                  <a:pt x="3647194" y="6033833"/>
                  <a:pt x="2622496" y="6800158"/>
                </a:cubicBezTo>
                <a:lnTo>
                  <a:pt x="2530542" y="6865548"/>
                </a:lnTo>
                <a:lnTo>
                  <a:pt x="0" y="6865548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156A290-B7AE-4779-83D7-C4DF09814862}"/>
              </a:ext>
            </a:extLst>
          </p:cNvPr>
          <p:cNvSpPr/>
          <p:nvPr userDrawn="1"/>
        </p:nvSpPr>
        <p:spPr>
          <a:xfrm>
            <a:off x="0" y="4074893"/>
            <a:ext cx="2768600" cy="2786881"/>
          </a:xfrm>
          <a:custGeom>
            <a:avLst/>
            <a:gdLst>
              <a:gd name="connsiteX0" fmla="*/ 751475 w 2580748"/>
              <a:gd name="connsiteY0" fmla="*/ 0 h 2597789"/>
              <a:gd name="connsiteX1" fmla="*/ 2580748 w 2580748"/>
              <a:gd name="connsiteY1" fmla="*/ 1829273 h 2597789"/>
              <a:gd name="connsiteX2" fmla="*/ 2436995 w 2580748"/>
              <a:gd name="connsiteY2" fmla="*/ 2541309 h 2597789"/>
              <a:gd name="connsiteX3" fmla="*/ 2409787 w 2580748"/>
              <a:gd name="connsiteY3" fmla="*/ 2597789 h 2597789"/>
              <a:gd name="connsiteX4" fmla="*/ 1855660 w 2580748"/>
              <a:gd name="connsiteY4" fmla="*/ 2597789 h 2597789"/>
              <a:gd name="connsiteX5" fmla="*/ 1867593 w 2580748"/>
              <a:gd name="connsiteY5" fmla="*/ 2581831 h 2597789"/>
              <a:gd name="connsiteX6" fmla="*/ 2097468 w 2580748"/>
              <a:gd name="connsiteY6" fmla="*/ 1829273 h 2597789"/>
              <a:gd name="connsiteX7" fmla="*/ 751475 w 2580748"/>
              <a:gd name="connsiteY7" fmla="*/ 483281 h 2597789"/>
              <a:gd name="connsiteX8" fmla="*/ 227554 w 2580748"/>
              <a:gd name="connsiteY8" fmla="*/ 589056 h 2597789"/>
              <a:gd name="connsiteX9" fmla="*/ 0 w 2580748"/>
              <a:gd name="connsiteY9" fmla="*/ 712568 h 2597789"/>
              <a:gd name="connsiteX10" fmla="*/ 0 w 2580748"/>
              <a:gd name="connsiteY10" fmla="*/ 162753 h 2597789"/>
              <a:gd name="connsiteX11" fmla="*/ 39440 w 2580748"/>
              <a:gd name="connsiteY11" fmla="*/ 143754 h 2597789"/>
              <a:gd name="connsiteX12" fmla="*/ 751475 w 2580748"/>
              <a:gd name="connsiteY12" fmla="*/ 0 h 25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0748" h="2597789">
                <a:moveTo>
                  <a:pt x="751475" y="0"/>
                </a:moveTo>
                <a:cubicBezTo>
                  <a:pt x="1761755" y="0"/>
                  <a:pt x="2580748" y="818994"/>
                  <a:pt x="2580748" y="1829273"/>
                </a:cubicBezTo>
                <a:cubicBezTo>
                  <a:pt x="2580748" y="2081843"/>
                  <a:pt x="2529561" y="2322458"/>
                  <a:pt x="2436995" y="2541309"/>
                </a:cubicBezTo>
                <a:lnTo>
                  <a:pt x="2409787" y="2597789"/>
                </a:lnTo>
                <a:lnTo>
                  <a:pt x="1855660" y="2597789"/>
                </a:lnTo>
                <a:lnTo>
                  <a:pt x="1867593" y="2581831"/>
                </a:lnTo>
                <a:cubicBezTo>
                  <a:pt x="2012724" y="2367009"/>
                  <a:pt x="2097468" y="2108038"/>
                  <a:pt x="2097468" y="1829273"/>
                </a:cubicBezTo>
                <a:cubicBezTo>
                  <a:pt x="2097468" y="1085902"/>
                  <a:pt x="1494847" y="483281"/>
                  <a:pt x="751475" y="483281"/>
                </a:cubicBezTo>
                <a:cubicBezTo>
                  <a:pt x="565632" y="483281"/>
                  <a:pt x="388586" y="520945"/>
                  <a:pt x="227554" y="589056"/>
                </a:cubicBezTo>
                <a:lnTo>
                  <a:pt x="0" y="712568"/>
                </a:lnTo>
                <a:lnTo>
                  <a:pt x="0" y="162753"/>
                </a:lnTo>
                <a:lnTo>
                  <a:pt x="39440" y="143754"/>
                </a:lnTo>
                <a:cubicBezTo>
                  <a:pt x="258291" y="51187"/>
                  <a:pt x="498905" y="0"/>
                  <a:pt x="751475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E314FE3-7B7C-4179-B56F-9E3FCD56D553}"/>
              </a:ext>
            </a:extLst>
          </p:cNvPr>
          <p:cNvSpPr/>
          <p:nvPr userDrawn="1"/>
        </p:nvSpPr>
        <p:spPr>
          <a:xfrm>
            <a:off x="979382" y="3024081"/>
            <a:ext cx="809835" cy="809835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28D7569-8A0A-4BD5-8B1F-7F7AE2C0078A}"/>
              </a:ext>
            </a:extLst>
          </p:cNvPr>
          <p:cNvSpPr/>
          <p:nvPr userDrawn="1"/>
        </p:nvSpPr>
        <p:spPr>
          <a:xfrm>
            <a:off x="10566403" y="872003"/>
            <a:ext cx="809835" cy="809835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CF6C8CF-16B0-43CC-9878-A8595EFE85AC}"/>
              </a:ext>
            </a:extLst>
          </p:cNvPr>
          <p:cNvSpPr/>
          <p:nvPr userDrawn="1"/>
        </p:nvSpPr>
        <p:spPr>
          <a:xfrm>
            <a:off x="9922214" y="1415840"/>
            <a:ext cx="531996" cy="531996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317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168">
          <p15:clr>
            <a:srgbClr val="FBAE40"/>
          </p15:clr>
        </p15:guide>
        <p15:guide id="3" pos="7512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393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Layout with two content boxes with wide g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&#10;&#10;Description automatically generated">
            <a:extLst>
              <a:ext uri="{FF2B5EF4-FFF2-40B4-BE49-F238E27FC236}">
                <a16:creationId xmlns:a16="http://schemas.microsoft.com/office/drawing/2014/main" id="{ED1C28C3-FDD6-4044-A1B8-7100A2B23B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" t="7844" b="8095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64CDA90-8FE5-4CF4-A138-C77686DC59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13D5F">
                  <a:alpha val="82000"/>
                </a:srgbClr>
              </a:gs>
              <a:gs pos="98000">
                <a:srgbClr val="0585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AA60E-B241-4948-8943-623B28ED76FD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426425" y="6275832"/>
            <a:ext cx="1562469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665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168">
          <p15:clr>
            <a:srgbClr val="FBAE40"/>
          </p15:clr>
        </p15:guide>
        <p15:guide id="3" pos="7512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393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AB936DF9-BF97-463D-9FCE-F528875476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B422C5-5629-4DCA-BD7D-C6C8BED9ECA0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4691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AB936DF9-BF97-463D-9FCE-F528875476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B422C5-5629-4DCA-BD7D-C6C8BED9ECA0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4345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9454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BAE40"/>
          </p15:clr>
        </p15:guide>
        <p15:guide id="2" orient="horz" pos="4032">
          <p15:clr>
            <a:srgbClr val="FBAE40"/>
          </p15:clr>
        </p15:guide>
        <p15:guide id="3" pos="240">
          <p15:clr>
            <a:srgbClr val="FBAE40"/>
          </p15:clr>
        </p15:guide>
        <p15:guide id="4" pos="74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5448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BAE40"/>
          </p15:clr>
        </p15:guide>
        <p15:guide id="2" orient="horz" pos="4032">
          <p15:clr>
            <a:srgbClr val="FBAE40"/>
          </p15:clr>
        </p15:guide>
        <p15:guide id="3" pos="240">
          <p15:clr>
            <a:srgbClr val="FBAE40"/>
          </p15:clr>
        </p15:guide>
        <p15:guide id="4" pos="74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803DC267-299A-44BE-9FDB-1F2B1DEDFADF}"/>
              </a:ext>
            </a:extLst>
          </p:cNvPr>
          <p:cNvSpPr/>
          <p:nvPr userDrawn="1"/>
        </p:nvSpPr>
        <p:spPr>
          <a:xfrm>
            <a:off x="-858417" y="6425094"/>
            <a:ext cx="1260017" cy="1260017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1AE39C1-461C-4B41-8B0A-D40D4A5E02FC}"/>
              </a:ext>
            </a:extLst>
          </p:cNvPr>
          <p:cNvSpPr/>
          <p:nvPr userDrawn="1"/>
        </p:nvSpPr>
        <p:spPr>
          <a:xfrm>
            <a:off x="10421276" y="-1237052"/>
            <a:ext cx="3178087" cy="3178087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ID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9467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803DC267-299A-44BE-9FDB-1F2B1DEDFADF}"/>
              </a:ext>
            </a:extLst>
          </p:cNvPr>
          <p:cNvSpPr/>
          <p:nvPr userDrawn="1"/>
        </p:nvSpPr>
        <p:spPr>
          <a:xfrm>
            <a:off x="-858417" y="6425094"/>
            <a:ext cx="1260017" cy="1260017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1AE39C1-461C-4B41-8B0A-D40D4A5E02FC}"/>
              </a:ext>
            </a:extLst>
          </p:cNvPr>
          <p:cNvSpPr/>
          <p:nvPr userDrawn="1"/>
        </p:nvSpPr>
        <p:spPr>
          <a:xfrm>
            <a:off x="10421276" y="-1237052"/>
            <a:ext cx="3178087" cy="3178087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ID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54115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33522BB-8152-41F7-9B30-D10A9D9C2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61" b="7761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9CAAECA-400B-4F74-931C-6FAF258162C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13D5F">
                  <a:alpha val="82000"/>
                </a:srgbClr>
              </a:gs>
              <a:gs pos="98000">
                <a:srgbClr val="0585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A44D744-3844-475C-8257-521B3759FCA1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426425" y="6275832"/>
            <a:ext cx="1562469" cy="402336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100AADA-2056-4DD6-BAFE-4F85EF74B3B5}"/>
              </a:ext>
            </a:extLst>
          </p:cNvPr>
          <p:cNvGrpSpPr/>
          <p:nvPr userDrawn="1"/>
        </p:nvGrpSpPr>
        <p:grpSpPr>
          <a:xfrm flipH="1">
            <a:off x="9550348" y="777099"/>
            <a:ext cx="3915264" cy="6084675"/>
            <a:chOff x="-1605708" y="-312813"/>
            <a:chExt cx="4616582" cy="7174587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BDAC1A8-EADC-42B3-A81A-B1B1375604E1}"/>
                </a:ext>
              </a:extLst>
            </p:cNvPr>
            <p:cNvSpPr/>
            <p:nvPr userDrawn="1"/>
          </p:nvSpPr>
          <p:spPr>
            <a:xfrm>
              <a:off x="-1605708" y="-312813"/>
              <a:ext cx="4616582" cy="5661341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4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8F8C9F4-8559-4D4C-8306-18B603C4628E}"/>
                </a:ext>
              </a:extLst>
            </p:cNvPr>
            <p:cNvSpPr/>
            <p:nvPr userDrawn="1"/>
          </p:nvSpPr>
          <p:spPr>
            <a:xfrm>
              <a:off x="-103961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C1B3C87-343B-413D-B80D-7A6B04A4DA7A}"/>
              </a:ext>
            </a:extLst>
          </p:cNvPr>
          <p:cNvGrpSpPr/>
          <p:nvPr userDrawn="1"/>
        </p:nvGrpSpPr>
        <p:grpSpPr>
          <a:xfrm>
            <a:off x="10652213" y="-491084"/>
            <a:ext cx="1341831" cy="1341831"/>
            <a:chOff x="10699753" y="151257"/>
            <a:chExt cx="1341831" cy="1341831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D6D190D-A581-432F-A8C6-CFCF3AF9ABB2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37236FE-BF09-4BAA-BD9A-902DB1E5C7B9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68968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246D963-0A31-4E7D-845E-C77CF8DC1A7D}"/>
              </a:ext>
            </a:extLst>
          </p:cNvPr>
          <p:cNvSpPr/>
          <p:nvPr userDrawn="1"/>
        </p:nvSpPr>
        <p:spPr>
          <a:xfrm>
            <a:off x="0" y="4074893"/>
            <a:ext cx="2768600" cy="2786881"/>
          </a:xfrm>
          <a:custGeom>
            <a:avLst/>
            <a:gdLst>
              <a:gd name="connsiteX0" fmla="*/ 751475 w 2580748"/>
              <a:gd name="connsiteY0" fmla="*/ 0 h 2597789"/>
              <a:gd name="connsiteX1" fmla="*/ 2580748 w 2580748"/>
              <a:gd name="connsiteY1" fmla="*/ 1829273 h 2597789"/>
              <a:gd name="connsiteX2" fmla="*/ 2436995 w 2580748"/>
              <a:gd name="connsiteY2" fmla="*/ 2541309 h 2597789"/>
              <a:gd name="connsiteX3" fmla="*/ 2409787 w 2580748"/>
              <a:gd name="connsiteY3" fmla="*/ 2597789 h 2597789"/>
              <a:gd name="connsiteX4" fmla="*/ 1855660 w 2580748"/>
              <a:gd name="connsiteY4" fmla="*/ 2597789 h 2597789"/>
              <a:gd name="connsiteX5" fmla="*/ 1867593 w 2580748"/>
              <a:gd name="connsiteY5" fmla="*/ 2581831 h 2597789"/>
              <a:gd name="connsiteX6" fmla="*/ 2097468 w 2580748"/>
              <a:gd name="connsiteY6" fmla="*/ 1829273 h 2597789"/>
              <a:gd name="connsiteX7" fmla="*/ 751475 w 2580748"/>
              <a:gd name="connsiteY7" fmla="*/ 483281 h 2597789"/>
              <a:gd name="connsiteX8" fmla="*/ 227554 w 2580748"/>
              <a:gd name="connsiteY8" fmla="*/ 589056 h 2597789"/>
              <a:gd name="connsiteX9" fmla="*/ 0 w 2580748"/>
              <a:gd name="connsiteY9" fmla="*/ 712568 h 2597789"/>
              <a:gd name="connsiteX10" fmla="*/ 0 w 2580748"/>
              <a:gd name="connsiteY10" fmla="*/ 162753 h 2597789"/>
              <a:gd name="connsiteX11" fmla="*/ 39440 w 2580748"/>
              <a:gd name="connsiteY11" fmla="*/ 143754 h 2597789"/>
              <a:gd name="connsiteX12" fmla="*/ 751475 w 2580748"/>
              <a:gd name="connsiteY12" fmla="*/ 0 h 25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0748" h="2597789">
                <a:moveTo>
                  <a:pt x="751475" y="0"/>
                </a:moveTo>
                <a:cubicBezTo>
                  <a:pt x="1761755" y="0"/>
                  <a:pt x="2580748" y="818994"/>
                  <a:pt x="2580748" y="1829273"/>
                </a:cubicBezTo>
                <a:cubicBezTo>
                  <a:pt x="2580748" y="2081843"/>
                  <a:pt x="2529561" y="2322458"/>
                  <a:pt x="2436995" y="2541309"/>
                </a:cubicBezTo>
                <a:lnTo>
                  <a:pt x="2409787" y="2597789"/>
                </a:lnTo>
                <a:lnTo>
                  <a:pt x="1855660" y="2597789"/>
                </a:lnTo>
                <a:lnTo>
                  <a:pt x="1867593" y="2581831"/>
                </a:lnTo>
                <a:cubicBezTo>
                  <a:pt x="2012724" y="2367009"/>
                  <a:pt x="2097468" y="2108038"/>
                  <a:pt x="2097468" y="1829273"/>
                </a:cubicBezTo>
                <a:cubicBezTo>
                  <a:pt x="2097468" y="1085902"/>
                  <a:pt x="1494847" y="483281"/>
                  <a:pt x="751475" y="483281"/>
                </a:cubicBezTo>
                <a:cubicBezTo>
                  <a:pt x="565632" y="483281"/>
                  <a:pt x="388586" y="520945"/>
                  <a:pt x="227554" y="589056"/>
                </a:cubicBezTo>
                <a:lnTo>
                  <a:pt x="0" y="712568"/>
                </a:lnTo>
                <a:lnTo>
                  <a:pt x="0" y="162753"/>
                </a:lnTo>
                <a:lnTo>
                  <a:pt x="39440" y="143754"/>
                </a:lnTo>
                <a:cubicBezTo>
                  <a:pt x="258291" y="51187"/>
                  <a:pt x="498905" y="0"/>
                  <a:pt x="751475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9D96782-FB14-4903-9D83-D261FAE70F88}"/>
              </a:ext>
            </a:extLst>
          </p:cNvPr>
          <p:cNvSpPr/>
          <p:nvPr userDrawn="1"/>
        </p:nvSpPr>
        <p:spPr>
          <a:xfrm>
            <a:off x="10699753" y="683253"/>
            <a:ext cx="809835" cy="809835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8253D6B-B58A-405E-9494-8791ADDAB535}"/>
              </a:ext>
            </a:extLst>
          </p:cNvPr>
          <p:cNvSpPr/>
          <p:nvPr userDrawn="1"/>
        </p:nvSpPr>
        <p:spPr>
          <a:xfrm>
            <a:off x="11509588" y="151257"/>
            <a:ext cx="531996" cy="531996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6981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246D963-0A31-4E7D-845E-C77CF8DC1A7D}"/>
              </a:ext>
            </a:extLst>
          </p:cNvPr>
          <p:cNvSpPr/>
          <p:nvPr userDrawn="1"/>
        </p:nvSpPr>
        <p:spPr>
          <a:xfrm flipH="1">
            <a:off x="9423400" y="4074893"/>
            <a:ext cx="2768600" cy="2786881"/>
          </a:xfrm>
          <a:custGeom>
            <a:avLst/>
            <a:gdLst>
              <a:gd name="connsiteX0" fmla="*/ 751475 w 2580748"/>
              <a:gd name="connsiteY0" fmla="*/ 0 h 2597789"/>
              <a:gd name="connsiteX1" fmla="*/ 2580748 w 2580748"/>
              <a:gd name="connsiteY1" fmla="*/ 1829273 h 2597789"/>
              <a:gd name="connsiteX2" fmla="*/ 2436995 w 2580748"/>
              <a:gd name="connsiteY2" fmla="*/ 2541309 h 2597789"/>
              <a:gd name="connsiteX3" fmla="*/ 2409787 w 2580748"/>
              <a:gd name="connsiteY3" fmla="*/ 2597789 h 2597789"/>
              <a:gd name="connsiteX4" fmla="*/ 1855660 w 2580748"/>
              <a:gd name="connsiteY4" fmla="*/ 2597789 h 2597789"/>
              <a:gd name="connsiteX5" fmla="*/ 1867593 w 2580748"/>
              <a:gd name="connsiteY5" fmla="*/ 2581831 h 2597789"/>
              <a:gd name="connsiteX6" fmla="*/ 2097468 w 2580748"/>
              <a:gd name="connsiteY6" fmla="*/ 1829273 h 2597789"/>
              <a:gd name="connsiteX7" fmla="*/ 751475 w 2580748"/>
              <a:gd name="connsiteY7" fmla="*/ 483281 h 2597789"/>
              <a:gd name="connsiteX8" fmla="*/ 227554 w 2580748"/>
              <a:gd name="connsiteY8" fmla="*/ 589056 h 2597789"/>
              <a:gd name="connsiteX9" fmla="*/ 0 w 2580748"/>
              <a:gd name="connsiteY9" fmla="*/ 712568 h 2597789"/>
              <a:gd name="connsiteX10" fmla="*/ 0 w 2580748"/>
              <a:gd name="connsiteY10" fmla="*/ 162753 h 2597789"/>
              <a:gd name="connsiteX11" fmla="*/ 39440 w 2580748"/>
              <a:gd name="connsiteY11" fmla="*/ 143754 h 2597789"/>
              <a:gd name="connsiteX12" fmla="*/ 751475 w 2580748"/>
              <a:gd name="connsiteY12" fmla="*/ 0 h 25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0748" h="2597789">
                <a:moveTo>
                  <a:pt x="751475" y="0"/>
                </a:moveTo>
                <a:cubicBezTo>
                  <a:pt x="1761755" y="0"/>
                  <a:pt x="2580748" y="818994"/>
                  <a:pt x="2580748" y="1829273"/>
                </a:cubicBezTo>
                <a:cubicBezTo>
                  <a:pt x="2580748" y="2081843"/>
                  <a:pt x="2529561" y="2322458"/>
                  <a:pt x="2436995" y="2541309"/>
                </a:cubicBezTo>
                <a:lnTo>
                  <a:pt x="2409787" y="2597789"/>
                </a:lnTo>
                <a:lnTo>
                  <a:pt x="1855660" y="2597789"/>
                </a:lnTo>
                <a:lnTo>
                  <a:pt x="1867593" y="2581831"/>
                </a:lnTo>
                <a:cubicBezTo>
                  <a:pt x="2012724" y="2367009"/>
                  <a:pt x="2097468" y="2108038"/>
                  <a:pt x="2097468" y="1829273"/>
                </a:cubicBezTo>
                <a:cubicBezTo>
                  <a:pt x="2097468" y="1085902"/>
                  <a:pt x="1494847" y="483281"/>
                  <a:pt x="751475" y="483281"/>
                </a:cubicBezTo>
                <a:cubicBezTo>
                  <a:pt x="565632" y="483281"/>
                  <a:pt x="388586" y="520945"/>
                  <a:pt x="227554" y="589056"/>
                </a:cubicBezTo>
                <a:lnTo>
                  <a:pt x="0" y="712568"/>
                </a:lnTo>
                <a:lnTo>
                  <a:pt x="0" y="162753"/>
                </a:lnTo>
                <a:lnTo>
                  <a:pt x="39440" y="143754"/>
                </a:lnTo>
                <a:cubicBezTo>
                  <a:pt x="258291" y="51187"/>
                  <a:pt x="498905" y="0"/>
                  <a:pt x="751475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-576788" y="-11544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3907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246D963-0A31-4E7D-845E-C77CF8DC1A7D}"/>
              </a:ext>
            </a:extLst>
          </p:cNvPr>
          <p:cNvSpPr/>
          <p:nvPr userDrawn="1"/>
        </p:nvSpPr>
        <p:spPr>
          <a:xfrm rot="5400000">
            <a:off x="9141" y="-9140"/>
            <a:ext cx="2768600" cy="2786881"/>
          </a:xfrm>
          <a:custGeom>
            <a:avLst/>
            <a:gdLst>
              <a:gd name="connsiteX0" fmla="*/ 751475 w 2580748"/>
              <a:gd name="connsiteY0" fmla="*/ 0 h 2597789"/>
              <a:gd name="connsiteX1" fmla="*/ 2580748 w 2580748"/>
              <a:gd name="connsiteY1" fmla="*/ 1829273 h 2597789"/>
              <a:gd name="connsiteX2" fmla="*/ 2436995 w 2580748"/>
              <a:gd name="connsiteY2" fmla="*/ 2541309 h 2597789"/>
              <a:gd name="connsiteX3" fmla="*/ 2409787 w 2580748"/>
              <a:gd name="connsiteY3" fmla="*/ 2597789 h 2597789"/>
              <a:gd name="connsiteX4" fmla="*/ 1855660 w 2580748"/>
              <a:gd name="connsiteY4" fmla="*/ 2597789 h 2597789"/>
              <a:gd name="connsiteX5" fmla="*/ 1867593 w 2580748"/>
              <a:gd name="connsiteY5" fmla="*/ 2581831 h 2597789"/>
              <a:gd name="connsiteX6" fmla="*/ 2097468 w 2580748"/>
              <a:gd name="connsiteY6" fmla="*/ 1829273 h 2597789"/>
              <a:gd name="connsiteX7" fmla="*/ 751475 w 2580748"/>
              <a:gd name="connsiteY7" fmla="*/ 483281 h 2597789"/>
              <a:gd name="connsiteX8" fmla="*/ 227554 w 2580748"/>
              <a:gd name="connsiteY8" fmla="*/ 589056 h 2597789"/>
              <a:gd name="connsiteX9" fmla="*/ 0 w 2580748"/>
              <a:gd name="connsiteY9" fmla="*/ 712568 h 2597789"/>
              <a:gd name="connsiteX10" fmla="*/ 0 w 2580748"/>
              <a:gd name="connsiteY10" fmla="*/ 162753 h 2597789"/>
              <a:gd name="connsiteX11" fmla="*/ 39440 w 2580748"/>
              <a:gd name="connsiteY11" fmla="*/ 143754 h 2597789"/>
              <a:gd name="connsiteX12" fmla="*/ 751475 w 2580748"/>
              <a:gd name="connsiteY12" fmla="*/ 0 h 25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0748" h="2597789">
                <a:moveTo>
                  <a:pt x="751475" y="0"/>
                </a:moveTo>
                <a:cubicBezTo>
                  <a:pt x="1761755" y="0"/>
                  <a:pt x="2580748" y="818994"/>
                  <a:pt x="2580748" y="1829273"/>
                </a:cubicBezTo>
                <a:cubicBezTo>
                  <a:pt x="2580748" y="2081843"/>
                  <a:pt x="2529561" y="2322458"/>
                  <a:pt x="2436995" y="2541309"/>
                </a:cubicBezTo>
                <a:lnTo>
                  <a:pt x="2409787" y="2597789"/>
                </a:lnTo>
                <a:lnTo>
                  <a:pt x="1855660" y="2597789"/>
                </a:lnTo>
                <a:lnTo>
                  <a:pt x="1867593" y="2581831"/>
                </a:lnTo>
                <a:cubicBezTo>
                  <a:pt x="2012724" y="2367009"/>
                  <a:pt x="2097468" y="2108038"/>
                  <a:pt x="2097468" y="1829273"/>
                </a:cubicBezTo>
                <a:cubicBezTo>
                  <a:pt x="2097468" y="1085902"/>
                  <a:pt x="1494847" y="483281"/>
                  <a:pt x="751475" y="483281"/>
                </a:cubicBezTo>
                <a:cubicBezTo>
                  <a:pt x="565632" y="483281"/>
                  <a:pt x="388586" y="520945"/>
                  <a:pt x="227554" y="589056"/>
                </a:cubicBezTo>
                <a:lnTo>
                  <a:pt x="0" y="712568"/>
                </a:lnTo>
                <a:lnTo>
                  <a:pt x="0" y="162753"/>
                </a:lnTo>
                <a:lnTo>
                  <a:pt x="39440" y="143754"/>
                </a:lnTo>
                <a:cubicBezTo>
                  <a:pt x="258291" y="51187"/>
                  <a:pt x="498905" y="0"/>
                  <a:pt x="751475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207660" y="4750395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8992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73736" y="6245352"/>
            <a:ext cx="384043" cy="215900"/>
          </a:xfrm>
        </p:spPr>
        <p:txBody>
          <a:bodyPr/>
          <a:lstStyle>
            <a:lvl1pPr algn="ctr">
              <a:defRPr sz="1000"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776163" y="4856607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E59F220-8708-44CF-B630-1E648FCB9D19}"/>
              </a:ext>
            </a:extLst>
          </p:cNvPr>
          <p:cNvGrpSpPr/>
          <p:nvPr userDrawn="1"/>
        </p:nvGrpSpPr>
        <p:grpSpPr>
          <a:xfrm>
            <a:off x="-1589044" y="-472299"/>
            <a:ext cx="3178087" cy="3178087"/>
            <a:chOff x="10699753" y="151257"/>
            <a:chExt cx="1341831" cy="134183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E98AE82-2B96-42C7-89DC-2F9DDA2AC8C7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A5A1698-6FEE-4AF5-BE85-10E00C73AFD4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5133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>
            <a:extLst>
              <a:ext uri="{FF2B5EF4-FFF2-40B4-BE49-F238E27FC236}">
                <a16:creationId xmlns:a16="http://schemas.microsoft.com/office/drawing/2014/main" id="{047A92BE-5234-4C2A-B4E2-08EB7DDB5872}"/>
              </a:ext>
            </a:extLst>
          </p:cNvPr>
          <p:cNvSpPr/>
          <p:nvPr userDrawn="1"/>
        </p:nvSpPr>
        <p:spPr>
          <a:xfrm>
            <a:off x="2682684" y="103372"/>
            <a:ext cx="2483119" cy="2483119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pic>
        <p:nvPicPr>
          <p:cNvPr id="27" name="Picture 8">
            <a:extLst>
              <a:ext uri="{FF2B5EF4-FFF2-40B4-BE49-F238E27FC236}">
                <a16:creationId xmlns:a16="http://schemas.microsoft.com/office/drawing/2014/main" id="{53C9A7D1-9E91-4023-9CD1-01657E271D2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/>
          <a:srcRect l="-6963" t="-6642" r="-7022" b="-2302"/>
          <a:stretch/>
        </p:blipFill>
        <p:spPr bwMode="auto">
          <a:xfrm>
            <a:off x="3073826" y="522179"/>
            <a:ext cx="1700834" cy="164550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9099949-67D0-408B-B799-F31340080B79}"/>
              </a:ext>
            </a:extLst>
          </p:cNvPr>
          <p:cNvGrpSpPr/>
          <p:nvPr userDrawn="1"/>
        </p:nvGrpSpPr>
        <p:grpSpPr>
          <a:xfrm>
            <a:off x="0" y="1054937"/>
            <a:ext cx="4722389" cy="5806837"/>
            <a:chOff x="0" y="14793"/>
            <a:chExt cx="5568283" cy="6846981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1A8E56-AB6E-4EC6-96D4-B6619286A96D}"/>
                </a:ext>
              </a:extLst>
            </p:cNvPr>
            <p:cNvSpPr/>
            <p:nvPr userDrawn="1"/>
          </p:nvSpPr>
          <p:spPr>
            <a:xfrm>
              <a:off x="0" y="14793"/>
              <a:ext cx="5568283" cy="6828415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76FFDC-52E2-4257-A555-1FF5EE9CA023}"/>
                </a:ext>
              </a:extLst>
            </p:cNvPr>
            <p:cNvSpPr/>
            <p:nvPr userDrawn="1"/>
          </p:nvSpPr>
          <p:spPr>
            <a:xfrm>
              <a:off x="0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103063" y="-28689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8991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>
            <a:extLst>
              <a:ext uri="{FF2B5EF4-FFF2-40B4-BE49-F238E27FC236}">
                <a16:creationId xmlns:a16="http://schemas.microsoft.com/office/drawing/2014/main" id="{047A92BE-5234-4C2A-B4E2-08EB7DDB5872}"/>
              </a:ext>
            </a:extLst>
          </p:cNvPr>
          <p:cNvSpPr/>
          <p:nvPr userDrawn="1"/>
        </p:nvSpPr>
        <p:spPr>
          <a:xfrm>
            <a:off x="1750355" y="175090"/>
            <a:ext cx="2483119" cy="2483119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9099949-67D0-408B-B799-F31340080B79}"/>
              </a:ext>
            </a:extLst>
          </p:cNvPr>
          <p:cNvGrpSpPr/>
          <p:nvPr userDrawn="1"/>
        </p:nvGrpSpPr>
        <p:grpSpPr>
          <a:xfrm>
            <a:off x="0" y="1054937"/>
            <a:ext cx="4722389" cy="5806837"/>
            <a:chOff x="0" y="14793"/>
            <a:chExt cx="5568283" cy="6846981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1A8E56-AB6E-4EC6-96D4-B6619286A96D}"/>
                </a:ext>
              </a:extLst>
            </p:cNvPr>
            <p:cNvSpPr/>
            <p:nvPr userDrawn="1"/>
          </p:nvSpPr>
          <p:spPr>
            <a:xfrm>
              <a:off x="0" y="14793"/>
              <a:ext cx="5568283" cy="6828415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76FFDC-52E2-4257-A555-1FF5EE9CA023}"/>
                </a:ext>
              </a:extLst>
            </p:cNvPr>
            <p:cNvSpPr/>
            <p:nvPr userDrawn="1"/>
          </p:nvSpPr>
          <p:spPr>
            <a:xfrm>
              <a:off x="0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103063" y="-28689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99940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9099949-67D0-408B-B799-F31340080B79}"/>
              </a:ext>
            </a:extLst>
          </p:cNvPr>
          <p:cNvGrpSpPr/>
          <p:nvPr userDrawn="1"/>
        </p:nvGrpSpPr>
        <p:grpSpPr>
          <a:xfrm>
            <a:off x="0" y="1054937"/>
            <a:ext cx="4722389" cy="5806837"/>
            <a:chOff x="0" y="14793"/>
            <a:chExt cx="5568283" cy="6846981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1A8E56-AB6E-4EC6-96D4-B6619286A96D}"/>
                </a:ext>
              </a:extLst>
            </p:cNvPr>
            <p:cNvSpPr/>
            <p:nvPr userDrawn="1"/>
          </p:nvSpPr>
          <p:spPr>
            <a:xfrm>
              <a:off x="0" y="14793"/>
              <a:ext cx="5568283" cy="6828415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76FFDC-52E2-4257-A555-1FF5EE9CA023}"/>
                </a:ext>
              </a:extLst>
            </p:cNvPr>
            <p:cNvSpPr/>
            <p:nvPr userDrawn="1"/>
          </p:nvSpPr>
          <p:spPr>
            <a:xfrm>
              <a:off x="0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103063" y="-28689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54913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9099949-67D0-408B-B799-F31340080B79}"/>
              </a:ext>
            </a:extLst>
          </p:cNvPr>
          <p:cNvGrpSpPr/>
          <p:nvPr userDrawn="1"/>
        </p:nvGrpSpPr>
        <p:grpSpPr>
          <a:xfrm flipH="1">
            <a:off x="7679081" y="52832"/>
            <a:ext cx="6017789" cy="7379647"/>
            <a:chOff x="-1969102" y="-1166815"/>
            <a:chExt cx="7095720" cy="8701520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1A8E56-AB6E-4EC6-96D4-B6619286A96D}"/>
                </a:ext>
              </a:extLst>
            </p:cNvPr>
            <p:cNvSpPr/>
            <p:nvPr userDrawn="1"/>
          </p:nvSpPr>
          <p:spPr>
            <a:xfrm>
              <a:off x="-1969102" y="-1166815"/>
              <a:ext cx="7095720" cy="8701520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76FFDC-52E2-4257-A555-1FF5EE9CA023}"/>
                </a:ext>
              </a:extLst>
            </p:cNvPr>
            <p:cNvSpPr/>
            <p:nvPr userDrawn="1"/>
          </p:nvSpPr>
          <p:spPr>
            <a:xfrm>
              <a:off x="-194674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 flipH="1">
            <a:off x="-289916" y="-28689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A914071C-2A8D-406D-A480-FD99F0751EE2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426425" y="6275832"/>
            <a:ext cx="1562469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0940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yout with two content boxes with wide g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D1C28C3-FDD6-4044-A1B8-7100A2B23B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821" b="7821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64CDA90-8FE5-4CF4-A138-C77686DC59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13D5F">
                  <a:alpha val="82000"/>
                </a:srgbClr>
              </a:gs>
              <a:gs pos="98000">
                <a:srgbClr val="0585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99AEA4-58AC-480C-B477-9D666CDE9DEC}"/>
              </a:ext>
            </a:extLst>
          </p:cNvPr>
          <p:cNvSpPr txBox="1"/>
          <p:nvPr userDrawn="1"/>
        </p:nvSpPr>
        <p:spPr>
          <a:xfrm>
            <a:off x="134112" y="6519672"/>
            <a:ext cx="5262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4285B986-09D6-4EE4-BBEB-1A2D5907589D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AA60E-B241-4948-8943-623B28ED76FD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426425" y="6275832"/>
            <a:ext cx="1562469" cy="40233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70AB66A-C793-4447-81CA-C33D27228799}"/>
              </a:ext>
            </a:extLst>
          </p:cNvPr>
          <p:cNvSpPr/>
          <p:nvPr userDrawn="1"/>
        </p:nvSpPr>
        <p:spPr>
          <a:xfrm>
            <a:off x="2682684" y="103372"/>
            <a:ext cx="2483119" cy="2483119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2FFEDD-EA9D-4240-9CC6-0131AA088DC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/>
          <a:srcRect l="-6963" t="-6642" r="-7022" b="-2302"/>
          <a:stretch/>
        </p:blipFill>
        <p:spPr bwMode="auto">
          <a:xfrm>
            <a:off x="3073826" y="522179"/>
            <a:ext cx="1700834" cy="1645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432EC6D-BFA9-4986-A081-16ADC07705F4}"/>
              </a:ext>
            </a:extLst>
          </p:cNvPr>
          <p:cNvGrpSpPr/>
          <p:nvPr userDrawn="1"/>
        </p:nvGrpSpPr>
        <p:grpSpPr>
          <a:xfrm>
            <a:off x="0" y="1054937"/>
            <a:ext cx="4722389" cy="5806837"/>
            <a:chOff x="0" y="14793"/>
            <a:chExt cx="5568283" cy="6846981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6E3FB94-8452-4F0F-AA95-4C1BEC226C44}"/>
                </a:ext>
              </a:extLst>
            </p:cNvPr>
            <p:cNvSpPr/>
            <p:nvPr userDrawn="1"/>
          </p:nvSpPr>
          <p:spPr>
            <a:xfrm>
              <a:off x="0" y="14793"/>
              <a:ext cx="5568283" cy="6828414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E897540-3182-46D1-8147-D55983FA0388}"/>
                </a:ext>
              </a:extLst>
            </p:cNvPr>
            <p:cNvSpPr/>
            <p:nvPr userDrawn="1"/>
          </p:nvSpPr>
          <p:spPr>
            <a:xfrm>
              <a:off x="0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B5DA565-FEB0-405E-AFB6-81150C7F7993}"/>
              </a:ext>
            </a:extLst>
          </p:cNvPr>
          <p:cNvGrpSpPr/>
          <p:nvPr userDrawn="1"/>
        </p:nvGrpSpPr>
        <p:grpSpPr>
          <a:xfrm>
            <a:off x="11103063" y="-286893"/>
            <a:ext cx="1341831" cy="1341831"/>
            <a:chOff x="10699753" y="151257"/>
            <a:chExt cx="1341831" cy="1341831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C236AD1-A14A-409C-BDC3-CCFDEA4E0386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A2D3619-2FD7-40A4-B9B3-C5B0F58046FC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748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168">
          <p15:clr>
            <a:srgbClr val="FBAE40"/>
          </p15:clr>
        </p15:guide>
        <p15:guide id="3" pos="7512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39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246D963-0A31-4E7D-845E-C77CF8DC1A7D}"/>
              </a:ext>
            </a:extLst>
          </p:cNvPr>
          <p:cNvSpPr/>
          <p:nvPr userDrawn="1"/>
        </p:nvSpPr>
        <p:spPr>
          <a:xfrm>
            <a:off x="0" y="4074893"/>
            <a:ext cx="2768600" cy="2786881"/>
          </a:xfrm>
          <a:custGeom>
            <a:avLst/>
            <a:gdLst>
              <a:gd name="connsiteX0" fmla="*/ 751475 w 2580748"/>
              <a:gd name="connsiteY0" fmla="*/ 0 h 2597789"/>
              <a:gd name="connsiteX1" fmla="*/ 2580748 w 2580748"/>
              <a:gd name="connsiteY1" fmla="*/ 1829273 h 2597789"/>
              <a:gd name="connsiteX2" fmla="*/ 2436995 w 2580748"/>
              <a:gd name="connsiteY2" fmla="*/ 2541309 h 2597789"/>
              <a:gd name="connsiteX3" fmla="*/ 2409787 w 2580748"/>
              <a:gd name="connsiteY3" fmla="*/ 2597789 h 2597789"/>
              <a:gd name="connsiteX4" fmla="*/ 1855660 w 2580748"/>
              <a:gd name="connsiteY4" fmla="*/ 2597789 h 2597789"/>
              <a:gd name="connsiteX5" fmla="*/ 1867593 w 2580748"/>
              <a:gd name="connsiteY5" fmla="*/ 2581831 h 2597789"/>
              <a:gd name="connsiteX6" fmla="*/ 2097468 w 2580748"/>
              <a:gd name="connsiteY6" fmla="*/ 1829273 h 2597789"/>
              <a:gd name="connsiteX7" fmla="*/ 751475 w 2580748"/>
              <a:gd name="connsiteY7" fmla="*/ 483281 h 2597789"/>
              <a:gd name="connsiteX8" fmla="*/ 227554 w 2580748"/>
              <a:gd name="connsiteY8" fmla="*/ 589056 h 2597789"/>
              <a:gd name="connsiteX9" fmla="*/ 0 w 2580748"/>
              <a:gd name="connsiteY9" fmla="*/ 712568 h 2597789"/>
              <a:gd name="connsiteX10" fmla="*/ 0 w 2580748"/>
              <a:gd name="connsiteY10" fmla="*/ 162753 h 2597789"/>
              <a:gd name="connsiteX11" fmla="*/ 39440 w 2580748"/>
              <a:gd name="connsiteY11" fmla="*/ 143754 h 2597789"/>
              <a:gd name="connsiteX12" fmla="*/ 751475 w 2580748"/>
              <a:gd name="connsiteY12" fmla="*/ 0 h 25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0748" h="2597789">
                <a:moveTo>
                  <a:pt x="751475" y="0"/>
                </a:moveTo>
                <a:cubicBezTo>
                  <a:pt x="1761755" y="0"/>
                  <a:pt x="2580748" y="818994"/>
                  <a:pt x="2580748" y="1829273"/>
                </a:cubicBezTo>
                <a:cubicBezTo>
                  <a:pt x="2580748" y="2081843"/>
                  <a:pt x="2529561" y="2322458"/>
                  <a:pt x="2436995" y="2541309"/>
                </a:cubicBezTo>
                <a:lnTo>
                  <a:pt x="2409787" y="2597789"/>
                </a:lnTo>
                <a:lnTo>
                  <a:pt x="1855660" y="2597789"/>
                </a:lnTo>
                <a:lnTo>
                  <a:pt x="1867593" y="2581831"/>
                </a:lnTo>
                <a:cubicBezTo>
                  <a:pt x="2012724" y="2367009"/>
                  <a:pt x="2097468" y="2108038"/>
                  <a:pt x="2097468" y="1829273"/>
                </a:cubicBezTo>
                <a:cubicBezTo>
                  <a:pt x="2097468" y="1085902"/>
                  <a:pt x="1494847" y="483281"/>
                  <a:pt x="751475" y="483281"/>
                </a:cubicBezTo>
                <a:cubicBezTo>
                  <a:pt x="565632" y="483281"/>
                  <a:pt x="388586" y="520945"/>
                  <a:pt x="227554" y="589056"/>
                </a:cubicBezTo>
                <a:lnTo>
                  <a:pt x="0" y="712568"/>
                </a:lnTo>
                <a:lnTo>
                  <a:pt x="0" y="162753"/>
                </a:lnTo>
                <a:lnTo>
                  <a:pt x="39440" y="143754"/>
                </a:lnTo>
                <a:cubicBezTo>
                  <a:pt x="258291" y="51187"/>
                  <a:pt x="498905" y="0"/>
                  <a:pt x="751475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9D96782-FB14-4903-9D83-D261FAE70F88}"/>
              </a:ext>
            </a:extLst>
          </p:cNvPr>
          <p:cNvSpPr/>
          <p:nvPr userDrawn="1"/>
        </p:nvSpPr>
        <p:spPr>
          <a:xfrm>
            <a:off x="10699753" y="683253"/>
            <a:ext cx="809835" cy="809835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8253D6B-B58A-405E-9494-8791ADDAB535}"/>
              </a:ext>
            </a:extLst>
          </p:cNvPr>
          <p:cNvSpPr/>
          <p:nvPr userDrawn="1"/>
        </p:nvSpPr>
        <p:spPr>
          <a:xfrm>
            <a:off x="11509588" y="151257"/>
            <a:ext cx="531996" cy="531996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8401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Layout with two content boxes with wide g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D1C28C3-FDD6-4044-A1B8-7100A2B23B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812" b="7812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64CDA90-8FE5-4CF4-A138-C77686DC59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13D5F">
                  <a:alpha val="82000"/>
                </a:srgbClr>
              </a:gs>
              <a:gs pos="98000">
                <a:srgbClr val="0585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AA60E-B241-4948-8943-623B28ED76FD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426425" y="6275832"/>
            <a:ext cx="1562469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008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168">
          <p15:clr>
            <a:srgbClr val="FBAE40"/>
          </p15:clr>
        </p15:guide>
        <p15:guide id="3" pos="7512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393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Layout with two content boxes with wide g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841F59B-6071-40B1-9DB9-E93D0821E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7644" r="21505" b="6139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13A52B2-A188-4520-8ED2-A92D427E90A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13D5F">
                  <a:alpha val="82000"/>
                </a:srgbClr>
              </a:gs>
              <a:gs pos="98000">
                <a:srgbClr val="0585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C0B061C-6F4D-430A-A5B9-F79379559F3A}"/>
              </a:ext>
            </a:extLst>
          </p:cNvPr>
          <p:cNvSpPr/>
          <p:nvPr userDrawn="1"/>
        </p:nvSpPr>
        <p:spPr>
          <a:xfrm>
            <a:off x="0" y="-3774"/>
            <a:ext cx="4310459" cy="6865548"/>
          </a:xfrm>
          <a:custGeom>
            <a:avLst/>
            <a:gdLst>
              <a:gd name="connsiteX0" fmla="*/ 0 w 4310459"/>
              <a:gd name="connsiteY0" fmla="*/ 0 h 6865548"/>
              <a:gd name="connsiteX1" fmla="*/ 2526971 w 4310459"/>
              <a:gd name="connsiteY1" fmla="*/ 0 h 6865548"/>
              <a:gd name="connsiteX2" fmla="*/ 2781243 w 4310459"/>
              <a:gd name="connsiteY2" fmla="*/ 190141 h 6865548"/>
              <a:gd name="connsiteX3" fmla="*/ 4310459 w 4310459"/>
              <a:gd name="connsiteY3" fmla="*/ 3432774 h 6865548"/>
              <a:gd name="connsiteX4" fmla="*/ 2622496 w 4310459"/>
              <a:gd name="connsiteY4" fmla="*/ 6800158 h 6865548"/>
              <a:gd name="connsiteX5" fmla="*/ 2530542 w 4310459"/>
              <a:gd name="connsiteY5" fmla="*/ 6865548 h 6865548"/>
              <a:gd name="connsiteX6" fmla="*/ 0 w 4310459"/>
              <a:gd name="connsiteY6" fmla="*/ 6865548 h 6865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10459" h="6865548">
                <a:moveTo>
                  <a:pt x="0" y="0"/>
                </a:moveTo>
                <a:lnTo>
                  <a:pt x="2526971" y="0"/>
                </a:lnTo>
                <a:lnTo>
                  <a:pt x="2781243" y="190141"/>
                </a:lnTo>
                <a:cubicBezTo>
                  <a:pt x="3715174" y="960889"/>
                  <a:pt x="4310459" y="2127314"/>
                  <a:pt x="4310459" y="3432774"/>
                </a:cubicBezTo>
                <a:cubicBezTo>
                  <a:pt x="4310459" y="4810761"/>
                  <a:pt x="3647194" y="6033833"/>
                  <a:pt x="2622496" y="6800158"/>
                </a:cubicBezTo>
                <a:lnTo>
                  <a:pt x="2530542" y="6865548"/>
                </a:lnTo>
                <a:lnTo>
                  <a:pt x="0" y="6865548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156A290-B7AE-4779-83D7-C4DF09814862}"/>
              </a:ext>
            </a:extLst>
          </p:cNvPr>
          <p:cNvSpPr/>
          <p:nvPr userDrawn="1"/>
        </p:nvSpPr>
        <p:spPr>
          <a:xfrm>
            <a:off x="0" y="4074893"/>
            <a:ext cx="2768600" cy="2786881"/>
          </a:xfrm>
          <a:custGeom>
            <a:avLst/>
            <a:gdLst>
              <a:gd name="connsiteX0" fmla="*/ 751475 w 2580748"/>
              <a:gd name="connsiteY0" fmla="*/ 0 h 2597789"/>
              <a:gd name="connsiteX1" fmla="*/ 2580748 w 2580748"/>
              <a:gd name="connsiteY1" fmla="*/ 1829273 h 2597789"/>
              <a:gd name="connsiteX2" fmla="*/ 2436995 w 2580748"/>
              <a:gd name="connsiteY2" fmla="*/ 2541309 h 2597789"/>
              <a:gd name="connsiteX3" fmla="*/ 2409787 w 2580748"/>
              <a:gd name="connsiteY3" fmla="*/ 2597789 h 2597789"/>
              <a:gd name="connsiteX4" fmla="*/ 1855660 w 2580748"/>
              <a:gd name="connsiteY4" fmla="*/ 2597789 h 2597789"/>
              <a:gd name="connsiteX5" fmla="*/ 1867593 w 2580748"/>
              <a:gd name="connsiteY5" fmla="*/ 2581831 h 2597789"/>
              <a:gd name="connsiteX6" fmla="*/ 2097468 w 2580748"/>
              <a:gd name="connsiteY6" fmla="*/ 1829273 h 2597789"/>
              <a:gd name="connsiteX7" fmla="*/ 751475 w 2580748"/>
              <a:gd name="connsiteY7" fmla="*/ 483281 h 2597789"/>
              <a:gd name="connsiteX8" fmla="*/ 227554 w 2580748"/>
              <a:gd name="connsiteY8" fmla="*/ 589056 h 2597789"/>
              <a:gd name="connsiteX9" fmla="*/ 0 w 2580748"/>
              <a:gd name="connsiteY9" fmla="*/ 712568 h 2597789"/>
              <a:gd name="connsiteX10" fmla="*/ 0 w 2580748"/>
              <a:gd name="connsiteY10" fmla="*/ 162753 h 2597789"/>
              <a:gd name="connsiteX11" fmla="*/ 39440 w 2580748"/>
              <a:gd name="connsiteY11" fmla="*/ 143754 h 2597789"/>
              <a:gd name="connsiteX12" fmla="*/ 751475 w 2580748"/>
              <a:gd name="connsiteY12" fmla="*/ 0 h 25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0748" h="2597789">
                <a:moveTo>
                  <a:pt x="751475" y="0"/>
                </a:moveTo>
                <a:cubicBezTo>
                  <a:pt x="1761755" y="0"/>
                  <a:pt x="2580748" y="818994"/>
                  <a:pt x="2580748" y="1829273"/>
                </a:cubicBezTo>
                <a:cubicBezTo>
                  <a:pt x="2580748" y="2081843"/>
                  <a:pt x="2529561" y="2322458"/>
                  <a:pt x="2436995" y="2541309"/>
                </a:cubicBezTo>
                <a:lnTo>
                  <a:pt x="2409787" y="2597789"/>
                </a:lnTo>
                <a:lnTo>
                  <a:pt x="1855660" y="2597789"/>
                </a:lnTo>
                <a:lnTo>
                  <a:pt x="1867593" y="2581831"/>
                </a:lnTo>
                <a:cubicBezTo>
                  <a:pt x="2012724" y="2367009"/>
                  <a:pt x="2097468" y="2108038"/>
                  <a:pt x="2097468" y="1829273"/>
                </a:cubicBezTo>
                <a:cubicBezTo>
                  <a:pt x="2097468" y="1085902"/>
                  <a:pt x="1494847" y="483281"/>
                  <a:pt x="751475" y="483281"/>
                </a:cubicBezTo>
                <a:cubicBezTo>
                  <a:pt x="565632" y="483281"/>
                  <a:pt x="388586" y="520945"/>
                  <a:pt x="227554" y="589056"/>
                </a:cubicBezTo>
                <a:lnTo>
                  <a:pt x="0" y="712568"/>
                </a:lnTo>
                <a:lnTo>
                  <a:pt x="0" y="162753"/>
                </a:lnTo>
                <a:lnTo>
                  <a:pt x="39440" y="143754"/>
                </a:lnTo>
                <a:cubicBezTo>
                  <a:pt x="258291" y="51187"/>
                  <a:pt x="498905" y="0"/>
                  <a:pt x="751475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E314FE3-7B7C-4179-B56F-9E3FCD56D553}"/>
              </a:ext>
            </a:extLst>
          </p:cNvPr>
          <p:cNvSpPr/>
          <p:nvPr userDrawn="1"/>
        </p:nvSpPr>
        <p:spPr>
          <a:xfrm>
            <a:off x="979382" y="3024081"/>
            <a:ext cx="809835" cy="809835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28D7569-8A0A-4BD5-8B1F-7F7AE2C0078A}"/>
              </a:ext>
            </a:extLst>
          </p:cNvPr>
          <p:cNvSpPr/>
          <p:nvPr userDrawn="1"/>
        </p:nvSpPr>
        <p:spPr>
          <a:xfrm>
            <a:off x="10566403" y="872003"/>
            <a:ext cx="809835" cy="809835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CF6C8CF-16B0-43CC-9878-A8595EFE85AC}"/>
              </a:ext>
            </a:extLst>
          </p:cNvPr>
          <p:cNvSpPr/>
          <p:nvPr userDrawn="1"/>
        </p:nvSpPr>
        <p:spPr>
          <a:xfrm>
            <a:off x="9922214" y="1415840"/>
            <a:ext cx="531996" cy="531996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918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168">
          <p15:clr>
            <a:srgbClr val="FBAE40"/>
          </p15:clr>
        </p15:guide>
        <p15:guide id="3" pos="7512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393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Layout with two content boxes with wide g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D1C28C3-FDD6-4044-A1B8-7100A2B23B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812" b="7812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64CDA90-8FE5-4CF4-A138-C77686DC59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113D5F">
                  <a:alpha val="82000"/>
                </a:srgbClr>
              </a:gs>
              <a:gs pos="98000">
                <a:srgbClr val="0585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99AEA4-58AC-480C-B477-9D666CDE9DEC}"/>
              </a:ext>
            </a:extLst>
          </p:cNvPr>
          <p:cNvSpPr txBox="1"/>
          <p:nvPr userDrawn="1"/>
        </p:nvSpPr>
        <p:spPr>
          <a:xfrm>
            <a:off x="134112" y="6519672"/>
            <a:ext cx="5262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4285B986-09D6-4EE4-BBEB-1A2D5907589D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AA60E-B241-4948-8943-623B28ED76FD}"/>
              </a:ext>
            </a:extLst>
          </p:cNvPr>
          <p:cNvPicPr>
            <a:picLocks/>
          </p:cNvPicPr>
          <p:nvPr userDrawn="1"/>
        </p:nvPicPr>
        <p:blipFill>
          <a:blip r:embed="rId3"/>
          <a:srcRect/>
          <a:stretch/>
        </p:blipFill>
        <p:spPr>
          <a:xfrm>
            <a:off x="10426425" y="6275832"/>
            <a:ext cx="1562469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066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  <p15:guide id="2" pos="168">
          <p15:clr>
            <a:srgbClr val="FBAE40"/>
          </p15:clr>
        </p15:guide>
        <p15:guide id="3" pos="7512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393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AB936DF9-BF97-463D-9FCE-F528875476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B422C5-5629-4DCA-BD7D-C6C8BED9ECA0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784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AB936DF9-BF97-463D-9FCE-F528875476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B422C5-5629-4DCA-BD7D-C6C8BED9ECA0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8649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Title: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66FDAB5B-A0EA-4918-93C9-F5B10F1D82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29026" y="6462268"/>
            <a:ext cx="384043" cy="215900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002345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4DBDA6C0-415B-456D-8E56-283A94A5C80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696AB3-1A6B-4B88-9850-21D89AF98A9C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350CBAD-0E32-4A35-BC5C-3A30B886BDEA}"/>
              </a:ext>
            </a:extLst>
          </p:cNvPr>
          <p:cNvGrpSpPr/>
          <p:nvPr userDrawn="1"/>
        </p:nvGrpSpPr>
        <p:grpSpPr>
          <a:xfrm>
            <a:off x="11776163" y="4856607"/>
            <a:ext cx="1341831" cy="1341831"/>
            <a:chOff x="10699753" y="151257"/>
            <a:chExt cx="1341831" cy="1341831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0327466-EC22-4524-B96F-1992C0999E13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B05938E-FD06-409A-A8E5-6B6ED610A7FB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B23F6BF-E0DB-48C9-886F-1FCE8DEC9F5D}"/>
              </a:ext>
            </a:extLst>
          </p:cNvPr>
          <p:cNvGrpSpPr/>
          <p:nvPr userDrawn="1"/>
        </p:nvGrpSpPr>
        <p:grpSpPr>
          <a:xfrm>
            <a:off x="-1589044" y="-472299"/>
            <a:ext cx="3178087" cy="3178087"/>
            <a:chOff x="10699753" y="151257"/>
            <a:chExt cx="1341831" cy="1341831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C30CBEC-CF3B-4DF4-8568-4F76C5C54281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416C6A4-2DA3-4112-A7FA-742D51CF44E8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73458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776163" y="4856607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E59F220-8708-44CF-B630-1E648FCB9D19}"/>
              </a:ext>
            </a:extLst>
          </p:cNvPr>
          <p:cNvGrpSpPr/>
          <p:nvPr userDrawn="1"/>
        </p:nvGrpSpPr>
        <p:grpSpPr>
          <a:xfrm>
            <a:off x="-1589044" y="-472299"/>
            <a:ext cx="3178087" cy="3178087"/>
            <a:chOff x="10699753" y="151257"/>
            <a:chExt cx="1341831" cy="134183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E98AE82-2B96-42C7-89DC-2F9DDA2AC8C7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A5A1698-6FEE-4AF5-BE85-10E00C73AFD4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95651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776163" y="4856607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E59F220-8708-44CF-B630-1E648FCB9D19}"/>
              </a:ext>
            </a:extLst>
          </p:cNvPr>
          <p:cNvGrpSpPr/>
          <p:nvPr userDrawn="1"/>
        </p:nvGrpSpPr>
        <p:grpSpPr>
          <a:xfrm>
            <a:off x="-1589044" y="-472299"/>
            <a:ext cx="3178087" cy="3178087"/>
            <a:chOff x="10699753" y="151257"/>
            <a:chExt cx="1341831" cy="134183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E98AE82-2B96-42C7-89DC-2F9DDA2AC8C7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A5A1698-6FEE-4AF5-BE85-10E00C73AFD4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1695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246D963-0A31-4E7D-845E-C77CF8DC1A7D}"/>
              </a:ext>
            </a:extLst>
          </p:cNvPr>
          <p:cNvSpPr/>
          <p:nvPr userDrawn="1"/>
        </p:nvSpPr>
        <p:spPr>
          <a:xfrm flipH="1">
            <a:off x="9423400" y="4074893"/>
            <a:ext cx="2768600" cy="2786881"/>
          </a:xfrm>
          <a:custGeom>
            <a:avLst/>
            <a:gdLst>
              <a:gd name="connsiteX0" fmla="*/ 751475 w 2580748"/>
              <a:gd name="connsiteY0" fmla="*/ 0 h 2597789"/>
              <a:gd name="connsiteX1" fmla="*/ 2580748 w 2580748"/>
              <a:gd name="connsiteY1" fmla="*/ 1829273 h 2597789"/>
              <a:gd name="connsiteX2" fmla="*/ 2436995 w 2580748"/>
              <a:gd name="connsiteY2" fmla="*/ 2541309 h 2597789"/>
              <a:gd name="connsiteX3" fmla="*/ 2409787 w 2580748"/>
              <a:gd name="connsiteY3" fmla="*/ 2597789 h 2597789"/>
              <a:gd name="connsiteX4" fmla="*/ 1855660 w 2580748"/>
              <a:gd name="connsiteY4" fmla="*/ 2597789 h 2597789"/>
              <a:gd name="connsiteX5" fmla="*/ 1867593 w 2580748"/>
              <a:gd name="connsiteY5" fmla="*/ 2581831 h 2597789"/>
              <a:gd name="connsiteX6" fmla="*/ 2097468 w 2580748"/>
              <a:gd name="connsiteY6" fmla="*/ 1829273 h 2597789"/>
              <a:gd name="connsiteX7" fmla="*/ 751475 w 2580748"/>
              <a:gd name="connsiteY7" fmla="*/ 483281 h 2597789"/>
              <a:gd name="connsiteX8" fmla="*/ 227554 w 2580748"/>
              <a:gd name="connsiteY8" fmla="*/ 589056 h 2597789"/>
              <a:gd name="connsiteX9" fmla="*/ 0 w 2580748"/>
              <a:gd name="connsiteY9" fmla="*/ 712568 h 2597789"/>
              <a:gd name="connsiteX10" fmla="*/ 0 w 2580748"/>
              <a:gd name="connsiteY10" fmla="*/ 162753 h 2597789"/>
              <a:gd name="connsiteX11" fmla="*/ 39440 w 2580748"/>
              <a:gd name="connsiteY11" fmla="*/ 143754 h 2597789"/>
              <a:gd name="connsiteX12" fmla="*/ 751475 w 2580748"/>
              <a:gd name="connsiteY12" fmla="*/ 0 h 25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0748" h="2597789">
                <a:moveTo>
                  <a:pt x="751475" y="0"/>
                </a:moveTo>
                <a:cubicBezTo>
                  <a:pt x="1761755" y="0"/>
                  <a:pt x="2580748" y="818994"/>
                  <a:pt x="2580748" y="1829273"/>
                </a:cubicBezTo>
                <a:cubicBezTo>
                  <a:pt x="2580748" y="2081843"/>
                  <a:pt x="2529561" y="2322458"/>
                  <a:pt x="2436995" y="2541309"/>
                </a:cubicBezTo>
                <a:lnTo>
                  <a:pt x="2409787" y="2597789"/>
                </a:lnTo>
                <a:lnTo>
                  <a:pt x="1855660" y="2597789"/>
                </a:lnTo>
                <a:lnTo>
                  <a:pt x="1867593" y="2581831"/>
                </a:lnTo>
                <a:cubicBezTo>
                  <a:pt x="2012724" y="2367009"/>
                  <a:pt x="2097468" y="2108038"/>
                  <a:pt x="2097468" y="1829273"/>
                </a:cubicBezTo>
                <a:cubicBezTo>
                  <a:pt x="2097468" y="1085902"/>
                  <a:pt x="1494847" y="483281"/>
                  <a:pt x="751475" y="483281"/>
                </a:cubicBezTo>
                <a:cubicBezTo>
                  <a:pt x="565632" y="483281"/>
                  <a:pt x="388586" y="520945"/>
                  <a:pt x="227554" y="589056"/>
                </a:cubicBezTo>
                <a:lnTo>
                  <a:pt x="0" y="712568"/>
                </a:lnTo>
                <a:lnTo>
                  <a:pt x="0" y="162753"/>
                </a:lnTo>
                <a:lnTo>
                  <a:pt x="39440" y="143754"/>
                </a:lnTo>
                <a:cubicBezTo>
                  <a:pt x="258291" y="51187"/>
                  <a:pt x="498905" y="0"/>
                  <a:pt x="751475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-576788" y="-11544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91845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246D963-0A31-4E7D-845E-C77CF8DC1A7D}"/>
              </a:ext>
            </a:extLst>
          </p:cNvPr>
          <p:cNvSpPr/>
          <p:nvPr userDrawn="1"/>
        </p:nvSpPr>
        <p:spPr>
          <a:xfrm rot="5400000">
            <a:off x="9141" y="-9140"/>
            <a:ext cx="2768600" cy="2786881"/>
          </a:xfrm>
          <a:custGeom>
            <a:avLst/>
            <a:gdLst>
              <a:gd name="connsiteX0" fmla="*/ 751475 w 2580748"/>
              <a:gd name="connsiteY0" fmla="*/ 0 h 2597789"/>
              <a:gd name="connsiteX1" fmla="*/ 2580748 w 2580748"/>
              <a:gd name="connsiteY1" fmla="*/ 1829273 h 2597789"/>
              <a:gd name="connsiteX2" fmla="*/ 2436995 w 2580748"/>
              <a:gd name="connsiteY2" fmla="*/ 2541309 h 2597789"/>
              <a:gd name="connsiteX3" fmla="*/ 2409787 w 2580748"/>
              <a:gd name="connsiteY3" fmla="*/ 2597789 h 2597789"/>
              <a:gd name="connsiteX4" fmla="*/ 1855660 w 2580748"/>
              <a:gd name="connsiteY4" fmla="*/ 2597789 h 2597789"/>
              <a:gd name="connsiteX5" fmla="*/ 1867593 w 2580748"/>
              <a:gd name="connsiteY5" fmla="*/ 2581831 h 2597789"/>
              <a:gd name="connsiteX6" fmla="*/ 2097468 w 2580748"/>
              <a:gd name="connsiteY6" fmla="*/ 1829273 h 2597789"/>
              <a:gd name="connsiteX7" fmla="*/ 751475 w 2580748"/>
              <a:gd name="connsiteY7" fmla="*/ 483281 h 2597789"/>
              <a:gd name="connsiteX8" fmla="*/ 227554 w 2580748"/>
              <a:gd name="connsiteY8" fmla="*/ 589056 h 2597789"/>
              <a:gd name="connsiteX9" fmla="*/ 0 w 2580748"/>
              <a:gd name="connsiteY9" fmla="*/ 712568 h 2597789"/>
              <a:gd name="connsiteX10" fmla="*/ 0 w 2580748"/>
              <a:gd name="connsiteY10" fmla="*/ 162753 h 2597789"/>
              <a:gd name="connsiteX11" fmla="*/ 39440 w 2580748"/>
              <a:gd name="connsiteY11" fmla="*/ 143754 h 2597789"/>
              <a:gd name="connsiteX12" fmla="*/ 751475 w 2580748"/>
              <a:gd name="connsiteY12" fmla="*/ 0 h 259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80748" h="2597789">
                <a:moveTo>
                  <a:pt x="751475" y="0"/>
                </a:moveTo>
                <a:cubicBezTo>
                  <a:pt x="1761755" y="0"/>
                  <a:pt x="2580748" y="818994"/>
                  <a:pt x="2580748" y="1829273"/>
                </a:cubicBezTo>
                <a:cubicBezTo>
                  <a:pt x="2580748" y="2081843"/>
                  <a:pt x="2529561" y="2322458"/>
                  <a:pt x="2436995" y="2541309"/>
                </a:cubicBezTo>
                <a:lnTo>
                  <a:pt x="2409787" y="2597789"/>
                </a:lnTo>
                <a:lnTo>
                  <a:pt x="1855660" y="2597789"/>
                </a:lnTo>
                <a:lnTo>
                  <a:pt x="1867593" y="2581831"/>
                </a:lnTo>
                <a:cubicBezTo>
                  <a:pt x="2012724" y="2367009"/>
                  <a:pt x="2097468" y="2108038"/>
                  <a:pt x="2097468" y="1829273"/>
                </a:cubicBezTo>
                <a:cubicBezTo>
                  <a:pt x="2097468" y="1085902"/>
                  <a:pt x="1494847" y="483281"/>
                  <a:pt x="751475" y="483281"/>
                </a:cubicBezTo>
                <a:cubicBezTo>
                  <a:pt x="565632" y="483281"/>
                  <a:pt x="388586" y="520945"/>
                  <a:pt x="227554" y="589056"/>
                </a:cubicBezTo>
                <a:lnTo>
                  <a:pt x="0" y="712568"/>
                </a:lnTo>
                <a:lnTo>
                  <a:pt x="0" y="162753"/>
                </a:lnTo>
                <a:lnTo>
                  <a:pt x="39440" y="143754"/>
                </a:lnTo>
                <a:cubicBezTo>
                  <a:pt x="258291" y="51187"/>
                  <a:pt x="498905" y="0"/>
                  <a:pt x="751475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207660" y="4750395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8025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776163" y="4856607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E59F220-8708-44CF-B630-1E648FCB9D19}"/>
              </a:ext>
            </a:extLst>
          </p:cNvPr>
          <p:cNvGrpSpPr/>
          <p:nvPr userDrawn="1"/>
        </p:nvGrpSpPr>
        <p:grpSpPr>
          <a:xfrm>
            <a:off x="-1589044" y="-472299"/>
            <a:ext cx="3178087" cy="3178087"/>
            <a:chOff x="10699753" y="151257"/>
            <a:chExt cx="1341831" cy="134183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E98AE82-2B96-42C7-89DC-2F9DDA2AC8C7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A5A1698-6FEE-4AF5-BE85-10E00C73AFD4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60967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>
            <a:extLst>
              <a:ext uri="{FF2B5EF4-FFF2-40B4-BE49-F238E27FC236}">
                <a16:creationId xmlns:a16="http://schemas.microsoft.com/office/drawing/2014/main" id="{047A92BE-5234-4C2A-B4E2-08EB7DDB5872}"/>
              </a:ext>
            </a:extLst>
          </p:cNvPr>
          <p:cNvSpPr/>
          <p:nvPr userDrawn="1"/>
        </p:nvSpPr>
        <p:spPr>
          <a:xfrm>
            <a:off x="2682684" y="103372"/>
            <a:ext cx="2483119" cy="2483119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pic>
        <p:nvPicPr>
          <p:cNvPr id="27" name="Picture 8">
            <a:extLst>
              <a:ext uri="{FF2B5EF4-FFF2-40B4-BE49-F238E27FC236}">
                <a16:creationId xmlns:a16="http://schemas.microsoft.com/office/drawing/2014/main" id="{53C9A7D1-9E91-4023-9CD1-01657E271D2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/>
          <a:srcRect l="-6963" t="-6642" r="-7022" b="-2302"/>
          <a:stretch/>
        </p:blipFill>
        <p:spPr bwMode="auto">
          <a:xfrm>
            <a:off x="3073826" y="522179"/>
            <a:ext cx="1700834" cy="1645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9099949-67D0-408B-B799-F31340080B79}"/>
              </a:ext>
            </a:extLst>
          </p:cNvPr>
          <p:cNvGrpSpPr/>
          <p:nvPr userDrawn="1"/>
        </p:nvGrpSpPr>
        <p:grpSpPr>
          <a:xfrm>
            <a:off x="0" y="1054937"/>
            <a:ext cx="4722389" cy="5806837"/>
            <a:chOff x="0" y="14793"/>
            <a:chExt cx="5568283" cy="6846981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1A8E56-AB6E-4EC6-96D4-B6619286A96D}"/>
                </a:ext>
              </a:extLst>
            </p:cNvPr>
            <p:cNvSpPr/>
            <p:nvPr userDrawn="1"/>
          </p:nvSpPr>
          <p:spPr>
            <a:xfrm>
              <a:off x="0" y="14793"/>
              <a:ext cx="5568283" cy="6828415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76FFDC-52E2-4257-A555-1FF5EE9CA023}"/>
                </a:ext>
              </a:extLst>
            </p:cNvPr>
            <p:cNvSpPr/>
            <p:nvPr userDrawn="1"/>
          </p:nvSpPr>
          <p:spPr>
            <a:xfrm>
              <a:off x="0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103063" y="-28689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49495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>
            <a:extLst>
              <a:ext uri="{FF2B5EF4-FFF2-40B4-BE49-F238E27FC236}">
                <a16:creationId xmlns:a16="http://schemas.microsoft.com/office/drawing/2014/main" id="{047A92BE-5234-4C2A-B4E2-08EB7DDB5872}"/>
              </a:ext>
            </a:extLst>
          </p:cNvPr>
          <p:cNvSpPr/>
          <p:nvPr userDrawn="1"/>
        </p:nvSpPr>
        <p:spPr>
          <a:xfrm>
            <a:off x="1750355" y="175090"/>
            <a:ext cx="2483119" cy="2483119"/>
          </a:xfrm>
          <a:prstGeom prst="ellipse">
            <a:avLst/>
          </a:prstGeom>
          <a:gradFill flip="none" rotWithShape="1">
            <a:gsLst>
              <a:gs pos="100000">
                <a:srgbClr val="002345">
                  <a:alpha val="57000"/>
                </a:srgbClr>
              </a:gs>
              <a:gs pos="0">
                <a:srgbClr val="00B0F0">
                  <a:alpha val="7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9099949-67D0-408B-B799-F31340080B79}"/>
              </a:ext>
            </a:extLst>
          </p:cNvPr>
          <p:cNvGrpSpPr/>
          <p:nvPr userDrawn="1"/>
        </p:nvGrpSpPr>
        <p:grpSpPr>
          <a:xfrm>
            <a:off x="0" y="1054937"/>
            <a:ext cx="4722389" cy="5806837"/>
            <a:chOff x="0" y="14793"/>
            <a:chExt cx="5568283" cy="6846981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1A8E56-AB6E-4EC6-96D4-B6619286A96D}"/>
                </a:ext>
              </a:extLst>
            </p:cNvPr>
            <p:cNvSpPr/>
            <p:nvPr userDrawn="1"/>
          </p:nvSpPr>
          <p:spPr>
            <a:xfrm>
              <a:off x="0" y="14793"/>
              <a:ext cx="5568283" cy="6828415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76FFDC-52E2-4257-A555-1FF5EE9CA023}"/>
                </a:ext>
              </a:extLst>
            </p:cNvPr>
            <p:cNvSpPr/>
            <p:nvPr userDrawn="1"/>
          </p:nvSpPr>
          <p:spPr>
            <a:xfrm>
              <a:off x="0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103063" y="-28689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4705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9099949-67D0-408B-B799-F31340080B79}"/>
              </a:ext>
            </a:extLst>
          </p:cNvPr>
          <p:cNvGrpSpPr/>
          <p:nvPr userDrawn="1"/>
        </p:nvGrpSpPr>
        <p:grpSpPr>
          <a:xfrm>
            <a:off x="0" y="1054937"/>
            <a:ext cx="4722389" cy="5806837"/>
            <a:chOff x="0" y="14793"/>
            <a:chExt cx="5568283" cy="6846981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1A8E56-AB6E-4EC6-96D4-B6619286A96D}"/>
                </a:ext>
              </a:extLst>
            </p:cNvPr>
            <p:cNvSpPr/>
            <p:nvPr userDrawn="1"/>
          </p:nvSpPr>
          <p:spPr>
            <a:xfrm>
              <a:off x="0" y="14793"/>
              <a:ext cx="5568283" cy="6828415"/>
            </a:xfrm>
            <a:custGeom>
              <a:avLst/>
              <a:gdLst>
                <a:gd name="connsiteX0" fmla="*/ 1612961 w 5568283"/>
                <a:gd name="connsiteY0" fmla="*/ 0 h 6828414"/>
                <a:gd name="connsiteX1" fmla="*/ 3551145 w 5568283"/>
                <a:gd name="connsiteY1" fmla="*/ 1153559 h 6828414"/>
                <a:gd name="connsiteX2" fmla="*/ 3617464 w 5568283"/>
                <a:gd name="connsiteY2" fmla="*/ 1291227 h 6828414"/>
                <a:gd name="connsiteX3" fmla="*/ 3691821 w 5568283"/>
                <a:gd name="connsiteY3" fmla="*/ 1302576 h 6828414"/>
                <a:gd name="connsiteX4" fmla="*/ 5568283 w 5568283"/>
                <a:gd name="connsiteY4" fmla="*/ 3604917 h 6828414"/>
                <a:gd name="connsiteX5" fmla="*/ 3691821 w 5568283"/>
                <a:gd name="connsiteY5" fmla="*/ 5907259 h 6828414"/>
                <a:gd name="connsiteX6" fmla="*/ 3530967 w 5568283"/>
                <a:gd name="connsiteY6" fmla="*/ 5931808 h 6828414"/>
                <a:gd name="connsiteX7" fmla="*/ 3500014 w 5568283"/>
                <a:gd name="connsiteY7" fmla="*/ 5973201 h 6828414"/>
                <a:gd name="connsiteX8" fmla="*/ 1686573 w 5568283"/>
                <a:gd name="connsiteY8" fmla="*/ 6828414 h 6828414"/>
                <a:gd name="connsiteX9" fmla="*/ 24811 w 5568283"/>
                <a:gd name="connsiteY9" fmla="*/ 6140089 h 6828414"/>
                <a:gd name="connsiteX10" fmla="*/ 0 w 5568283"/>
                <a:gd name="connsiteY10" fmla="*/ 6112790 h 6828414"/>
                <a:gd name="connsiteX11" fmla="*/ 0 w 5568283"/>
                <a:gd name="connsiteY11" fmla="*/ 705392 h 6828414"/>
                <a:gd name="connsiteX12" fmla="*/ 54341 w 5568283"/>
                <a:gd name="connsiteY12" fmla="*/ 645602 h 6828414"/>
                <a:gd name="connsiteX13" fmla="*/ 1612961 w 5568283"/>
                <a:gd name="connsiteY13" fmla="*/ 0 h 682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68283" h="6828414">
                  <a:moveTo>
                    <a:pt x="1612961" y="0"/>
                  </a:moveTo>
                  <a:cubicBezTo>
                    <a:pt x="2449895" y="0"/>
                    <a:pt x="3177884" y="466448"/>
                    <a:pt x="3551145" y="1153559"/>
                  </a:cubicBezTo>
                  <a:lnTo>
                    <a:pt x="3617464" y="1291227"/>
                  </a:lnTo>
                  <a:lnTo>
                    <a:pt x="3691821" y="1302576"/>
                  </a:lnTo>
                  <a:cubicBezTo>
                    <a:pt x="4762716" y="1521712"/>
                    <a:pt x="5568283" y="2469240"/>
                    <a:pt x="5568283" y="3604917"/>
                  </a:cubicBezTo>
                  <a:cubicBezTo>
                    <a:pt x="5568283" y="4740595"/>
                    <a:pt x="4762716" y="5688122"/>
                    <a:pt x="3691821" y="5907259"/>
                  </a:cubicBezTo>
                  <a:lnTo>
                    <a:pt x="3530967" y="5931808"/>
                  </a:lnTo>
                  <a:lnTo>
                    <a:pt x="3500014" y="5973201"/>
                  </a:lnTo>
                  <a:cubicBezTo>
                    <a:pt x="3068974" y="6495501"/>
                    <a:pt x="2416652" y="6828414"/>
                    <a:pt x="1686573" y="6828414"/>
                  </a:cubicBezTo>
                  <a:cubicBezTo>
                    <a:pt x="1037615" y="6828414"/>
                    <a:pt x="450093" y="6565372"/>
                    <a:pt x="24811" y="6140089"/>
                  </a:cubicBezTo>
                  <a:lnTo>
                    <a:pt x="0" y="6112790"/>
                  </a:lnTo>
                  <a:lnTo>
                    <a:pt x="0" y="705392"/>
                  </a:lnTo>
                  <a:lnTo>
                    <a:pt x="54341" y="645602"/>
                  </a:lnTo>
                  <a:cubicBezTo>
                    <a:pt x="453227" y="246716"/>
                    <a:pt x="1004282" y="0"/>
                    <a:pt x="1612961" y="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>
              <a:outerShdw blurRad="76200" dist="12700" dir="5400000" algn="ctr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182880" rtlCol="0" anchor="b">
              <a:noAutofit/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ts val="5100"/>
              </a:pPr>
              <a:r>
                <a:rPr lang="en-US" sz="1050" ker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</a:t>
              </a: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E76FFDC-52E2-4257-A555-1FF5EE9CA023}"/>
                </a:ext>
              </a:extLst>
            </p:cNvPr>
            <p:cNvSpPr/>
            <p:nvPr userDrawn="1"/>
          </p:nvSpPr>
          <p:spPr>
            <a:xfrm>
              <a:off x="0" y="4074893"/>
              <a:ext cx="2768600" cy="2786881"/>
            </a:xfrm>
            <a:custGeom>
              <a:avLst/>
              <a:gdLst>
                <a:gd name="connsiteX0" fmla="*/ 751475 w 2580748"/>
                <a:gd name="connsiteY0" fmla="*/ 0 h 2597789"/>
                <a:gd name="connsiteX1" fmla="*/ 2580748 w 2580748"/>
                <a:gd name="connsiteY1" fmla="*/ 1829273 h 2597789"/>
                <a:gd name="connsiteX2" fmla="*/ 2436995 w 2580748"/>
                <a:gd name="connsiteY2" fmla="*/ 2541309 h 2597789"/>
                <a:gd name="connsiteX3" fmla="*/ 2409787 w 2580748"/>
                <a:gd name="connsiteY3" fmla="*/ 2597789 h 2597789"/>
                <a:gd name="connsiteX4" fmla="*/ 1855660 w 2580748"/>
                <a:gd name="connsiteY4" fmla="*/ 2597789 h 2597789"/>
                <a:gd name="connsiteX5" fmla="*/ 1867593 w 2580748"/>
                <a:gd name="connsiteY5" fmla="*/ 2581831 h 2597789"/>
                <a:gd name="connsiteX6" fmla="*/ 2097468 w 2580748"/>
                <a:gd name="connsiteY6" fmla="*/ 1829273 h 2597789"/>
                <a:gd name="connsiteX7" fmla="*/ 751475 w 2580748"/>
                <a:gd name="connsiteY7" fmla="*/ 483281 h 2597789"/>
                <a:gd name="connsiteX8" fmla="*/ 227554 w 2580748"/>
                <a:gd name="connsiteY8" fmla="*/ 589056 h 2597789"/>
                <a:gd name="connsiteX9" fmla="*/ 0 w 2580748"/>
                <a:gd name="connsiteY9" fmla="*/ 712568 h 2597789"/>
                <a:gd name="connsiteX10" fmla="*/ 0 w 2580748"/>
                <a:gd name="connsiteY10" fmla="*/ 162753 h 2597789"/>
                <a:gd name="connsiteX11" fmla="*/ 39440 w 2580748"/>
                <a:gd name="connsiteY11" fmla="*/ 143754 h 2597789"/>
                <a:gd name="connsiteX12" fmla="*/ 751475 w 2580748"/>
                <a:gd name="connsiteY12" fmla="*/ 0 h 2597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0748" h="2597789">
                  <a:moveTo>
                    <a:pt x="751475" y="0"/>
                  </a:moveTo>
                  <a:cubicBezTo>
                    <a:pt x="1761755" y="0"/>
                    <a:pt x="2580748" y="818994"/>
                    <a:pt x="2580748" y="1829273"/>
                  </a:cubicBezTo>
                  <a:cubicBezTo>
                    <a:pt x="2580748" y="2081843"/>
                    <a:pt x="2529561" y="2322458"/>
                    <a:pt x="2436995" y="2541309"/>
                  </a:cubicBezTo>
                  <a:lnTo>
                    <a:pt x="2409787" y="2597789"/>
                  </a:lnTo>
                  <a:lnTo>
                    <a:pt x="1855660" y="2597789"/>
                  </a:lnTo>
                  <a:lnTo>
                    <a:pt x="1867593" y="2581831"/>
                  </a:lnTo>
                  <a:cubicBezTo>
                    <a:pt x="2012724" y="2367009"/>
                    <a:pt x="2097468" y="2108038"/>
                    <a:pt x="2097468" y="1829273"/>
                  </a:cubicBezTo>
                  <a:cubicBezTo>
                    <a:pt x="2097468" y="1085902"/>
                    <a:pt x="1494847" y="483281"/>
                    <a:pt x="751475" y="483281"/>
                  </a:cubicBezTo>
                  <a:cubicBezTo>
                    <a:pt x="565632" y="483281"/>
                    <a:pt x="388586" y="520945"/>
                    <a:pt x="227554" y="589056"/>
                  </a:cubicBezTo>
                  <a:lnTo>
                    <a:pt x="0" y="712568"/>
                  </a:lnTo>
                  <a:lnTo>
                    <a:pt x="0" y="162753"/>
                  </a:lnTo>
                  <a:lnTo>
                    <a:pt x="39440" y="143754"/>
                  </a:lnTo>
                  <a:cubicBezTo>
                    <a:pt x="258291" y="51187"/>
                    <a:pt x="498905" y="0"/>
                    <a:pt x="751475" y="0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6B60D9CF-2718-42BA-B782-5FAA6B5D1D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81000" y="6425094"/>
            <a:ext cx="384043" cy="215900"/>
          </a:xfrm>
        </p:spPr>
        <p:txBody>
          <a:bodyPr/>
          <a:lstStyle>
            <a:lvl1pPr>
              <a:defRPr b="1">
                <a:solidFill>
                  <a:srgbClr val="003157"/>
                </a:solidFill>
                <a:latin typeface="Montserrat" panose="00000500000000000000" pitchFamily="2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55A0BA-A015-4DAE-B7A5-D855AD5998C6}"/>
              </a:ext>
            </a:extLst>
          </p:cNvPr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21276" y="6275832"/>
            <a:ext cx="1572768" cy="4023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824AE64-64AE-4A27-BC61-5EB25D72A352}"/>
              </a:ext>
            </a:extLst>
          </p:cNvPr>
          <p:cNvGrpSpPr/>
          <p:nvPr userDrawn="1"/>
        </p:nvGrpSpPr>
        <p:grpSpPr>
          <a:xfrm>
            <a:off x="11103063" y="-286893"/>
            <a:ext cx="1341831" cy="1341831"/>
            <a:chOff x="10699753" y="151257"/>
            <a:chExt cx="1341831" cy="13418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9D96782-FB14-4903-9D83-D261FAE70F88}"/>
                </a:ext>
              </a:extLst>
            </p:cNvPr>
            <p:cNvSpPr/>
            <p:nvPr userDrawn="1"/>
          </p:nvSpPr>
          <p:spPr>
            <a:xfrm>
              <a:off x="10699753" y="683253"/>
              <a:ext cx="809835" cy="809835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253D6B-B58A-405E-9494-8791ADDAB535}"/>
                </a:ext>
              </a:extLst>
            </p:cNvPr>
            <p:cNvSpPr/>
            <p:nvPr userDrawn="1"/>
          </p:nvSpPr>
          <p:spPr>
            <a:xfrm>
              <a:off x="11509588" y="151257"/>
              <a:ext cx="531996" cy="531996"/>
            </a:xfrm>
            <a:prstGeom prst="ellipse">
              <a:avLst/>
            </a:prstGeom>
            <a:gradFill flip="none" rotWithShape="1">
              <a:gsLst>
                <a:gs pos="100000">
                  <a:srgbClr val="002345">
                    <a:alpha val="57000"/>
                  </a:srgbClr>
                </a:gs>
                <a:gs pos="0">
                  <a:srgbClr val="00B0F0">
                    <a:alpha val="72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970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83BF64-A869-44DA-B3D7-F444F5F91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4DEE2A-E43A-4EC7-9B70-F4471FA387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332A63-B18C-4096-ABEC-B156A8684F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5D2AFB-FD65-4DEF-A4B8-96D6C075ED2F}" type="datetimeFigureOut">
              <a:rPr lang="pt-BR" smtClean="0"/>
              <a:t>03/06/2022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0AF57B-7F85-40DD-B5E2-CFD1A3323F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3B8543-8BCB-4CB8-9956-FA2153B41F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E7DBF7-7866-47E7-AFE8-A873A955A4D7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9793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260351"/>
            <a:ext cx="1132840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18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This is a headlin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18511" y="6360102"/>
            <a:ext cx="38404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Palatino" charset="0"/>
                <a:ea typeface="Palatino" charset="0"/>
                <a:cs typeface="Palatino" charset="0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431800" y="1268413"/>
            <a:ext cx="11328400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err="1"/>
              <a:t>Textmaster</a:t>
            </a:r>
            <a:endParaRPr lang="en-US" noProof="0"/>
          </a:p>
          <a:p>
            <a:pPr lvl="1"/>
            <a:r>
              <a:rPr lang="en-US" noProof="0"/>
              <a:t>Second Layer</a:t>
            </a:r>
          </a:p>
          <a:p>
            <a:pPr lvl="2"/>
            <a:r>
              <a:rPr lang="en-US" noProof="0"/>
              <a:t>Third Layer</a:t>
            </a:r>
          </a:p>
          <a:p>
            <a:pPr lvl="3"/>
            <a:r>
              <a:rPr lang="en-US" noProof="0"/>
              <a:t>Fourth Layer</a:t>
            </a:r>
          </a:p>
          <a:p>
            <a:pPr lvl="4"/>
            <a:r>
              <a:rPr lang="en-US" noProof="0"/>
              <a:t>Fifth Layer</a:t>
            </a:r>
          </a:p>
          <a:p>
            <a:pPr lvl="5"/>
            <a:r>
              <a:rPr lang="en-US" noProof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600507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87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 typeface="Arial"/>
        <a:buNone/>
        <a:defRPr sz="3000" kern="1200" baseline="0">
          <a:solidFill>
            <a:schemeClr val="accent2"/>
          </a:solidFill>
          <a:latin typeface="+mn-lt"/>
          <a:ea typeface="+mn-ea"/>
          <a:cs typeface="+mn-cs"/>
        </a:defRPr>
      </a:lvl2pPr>
      <a:lvl3pPr marL="361950" indent="-3619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500" kern="1200" baseline="0">
          <a:solidFill>
            <a:schemeClr val="accent2"/>
          </a:solidFill>
          <a:latin typeface="+mn-lt"/>
          <a:ea typeface="+mn-ea"/>
          <a:cs typeface="+mn-cs"/>
        </a:defRPr>
      </a:lvl3pPr>
      <a:lvl4pPr marL="715963" indent="-354013" algn="l" defTabSz="457200" rtl="0" eaLnBrk="1" latinLnBrk="0" hangingPunct="1">
        <a:spcBef>
          <a:spcPct val="20000"/>
        </a:spcBef>
        <a:buFont typeface="Arial"/>
        <a:buChar char="–"/>
        <a:defRPr sz="2000" kern="1200" baseline="0">
          <a:solidFill>
            <a:schemeClr val="accent2"/>
          </a:solidFill>
          <a:latin typeface="+mn-lt"/>
          <a:ea typeface="+mn-ea"/>
          <a:cs typeface="+mn-cs"/>
        </a:defRPr>
      </a:lvl4pPr>
      <a:lvl5pPr marL="1077913" indent="-361950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1431925" indent="-354013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E7E63671-7CB6-4CF5-B345-83C86F26F1E7}"/>
              </a:ext>
            </a:extLst>
          </p:cNvPr>
          <p:cNvSpPr txBox="1"/>
          <p:nvPr/>
        </p:nvSpPr>
        <p:spPr>
          <a:xfrm>
            <a:off x="4610832" y="4741610"/>
            <a:ext cx="7584839" cy="175432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Montserrat"/>
              </a:rPr>
              <a:t>IFC's Engagement in the Health Sector in Africa – </a:t>
            </a:r>
            <a:r>
              <a:rPr lang="en-US" sz="3600" b="1" i="1" dirty="0">
                <a:solidFill>
                  <a:schemeClr val="bg1"/>
                </a:solidFill>
                <a:latin typeface="Montserrat"/>
              </a:rPr>
              <a:t>Focus Pharma Value Chain</a:t>
            </a:r>
            <a:endParaRPr lang="en-US" sz="3600" i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31507BF-BB3A-4EF1-8BD0-F25057DAC0B3}"/>
              </a:ext>
            </a:extLst>
          </p:cNvPr>
          <p:cNvSpPr/>
          <p:nvPr userDrawn="1"/>
        </p:nvSpPr>
        <p:spPr>
          <a:xfrm flipH="1">
            <a:off x="7653130" y="0"/>
            <a:ext cx="4538870" cy="4741610"/>
          </a:xfrm>
          <a:custGeom>
            <a:avLst/>
            <a:gdLst>
              <a:gd name="connsiteX0" fmla="*/ 1612961 w 5568283"/>
              <a:gd name="connsiteY0" fmla="*/ 0 h 6828414"/>
              <a:gd name="connsiteX1" fmla="*/ 3551145 w 5568283"/>
              <a:gd name="connsiteY1" fmla="*/ 1153559 h 6828414"/>
              <a:gd name="connsiteX2" fmla="*/ 3617464 w 5568283"/>
              <a:gd name="connsiteY2" fmla="*/ 1291227 h 6828414"/>
              <a:gd name="connsiteX3" fmla="*/ 3691821 w 5568283"/>
              <a:gd name="connsiteY3" fmla="*/ 1302576 h 6828414"/>
              <a:gd name="connsiteX4" fmla="*/ 5568283 w 5568283"/>
              <a:gd name="connsiteY4" fmla="*/ 3604917 h 6828414"/>
              <a:gd name="connsiteX5" fmla="*/ 3691821 w 5568283"/>
              <a:gd name="connsiteY5" fmla="*/ 5907259 h 6828414"/>
              <a:gd name="connsiteX6" fmla="*/ 3530967 w 5568283"/>
              <a:gd name="connsiteY6" fmla="*/ 5931808 h 6828414"/>
              <a:gd name="connsiteX7" fmla="*/ 3500014 w 5568283"/>
              <a:gd name="connsiteY7" fmla="*/ 5973201 h 6828414"/>
              <a:gd name="connsiteX8" fmla="*/ 1686573 w 5568283"/>
              <a:gd name="connsiteY8" fmla="*/ 6828414 h 6828414"/>
              <a:gd name="connsiteX9" fmla="*/ 24811 w 5568283"/>
              <a:gd name="connsiteY9" fmla="*/ 6140089 h 6828414"/>
              <a:gd name="connsiteX10" fmla="*/ 0 w 5568283"/>
              <a:gd name="connsiteY10" fmla="*/ 6112790 h 6828414"/>
              <a:gd name="connsiteX11" fmla="*/ 0 w 5568283"/>
              <a:gd name="connsiteY11" fmla="*/ 705392 h 6828414"/>
              <a:gd name="connsiteX12" fmla="*/ 54341 w 5568283"/>
              <a:gd name="connsiteY12" fmla="*/ 645602 h 6828414"/>
              <a:gd name="connsiteX13" fmla="*/ 1612961 w 5568283"/>
              <a:gd name="connsiteY13" fmla="*/ 0 h 6828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568283" h="6828414">
                <a:moveTo>
                  <a:pt x="1612961" y="0"/>
                </a:moveTo>
                <a:cubicBezTo>
                  <a:pt x="2449895" y="0"/>
                  <a:pt x="3177884" y="466448"/>
                  <a:pt x="3551145" y="1153559"/>
                </a:cubicBezTo>
                <a:lnTo>
                  <a:pt x="3617464" y="1291227"/>
                </a:lnTo>
                <a:lnTo>
                  <a:pt x="3691821" y="1302576"/>
                </a:lnTo>
                <a:cubicBezTo>
                  <a:pt x="4762716" y="1521712"/>
                  <a:pt x="5568283" y="2469240"/>
                  <a:pt x="5568283" y="3604917"/>
                </a:cubicBezTo>
                <a:cubicBezTo>
                  <a:pt x="5568283" y="4740595"/>
                  <a:pt x="4762716" y="5688122"/>
                  <a:pt x="3691821" y="5907259"/>
                </a:cubicBezTo>
                <a:lnTo>
                  <a:pt x="3530967" y="5931808"/>
                </a:lnTo>
                <a:lnTo>
                  <a:pt x="3500014" y="5973201"/>
                </a:lnTo>
                <a:cubicBezTo>
                  <a:pt x="3068974" y="6495501"/>
                  <a:pt x="2416652" y="6828414"/>
                  <a:pt x="1686573" y="6828414"/>
                </a:cubicBezTo>
                <a:cubicBezTo>
                  <a:pt x="1037615" y="6828414"/>
                  <a:pt x="450093" y="6565372"/>
                  <a:pt x="24811" y="6140089"/>
                </a:cubicBezTo>
                <a:lnTo>
                  <a:pt x="0" y="6112790"/>
                </a:lnTo>
                <a:lnTo>
                  <a:pt x="0" y="705392"/>
                </a:lnTo>
                <a:lnTo>
                  <a:pt x="54341" y="645602"/>
                </a:lnTo>
                <a:cubicBezTo>
                  <a:pt x="453227" y="246716"/>
                  <a:pt x="1004282" y="0"/>
                  <a:pt x="1612961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outerShdw blurRad="76200" dist="12700" dir="5400000" algn="ctr" rotWithShape="0">
              <a:srgbClr val="000000">
                <a:alpha val="10000"/>
              </a:srgbClr>
            </a:outerShdw>
          </a:effectLst>
        </p:spPr>
        <p:txBody>
          <a:bodyPr wrap="square" lIns="0" tIns="0" rIns="0" bIns="182880" rtlCol="0" anchor="b"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5100"/>
            </a:pPr>
            <a:r>
              <a:rPr lang="en-US" sz="1050" ker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9768305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D0C7E3A4-3C24-4631-8580-2BD1E242738C}"/>
              </a:ext>
            </a:extLst>
          </p:cNvPr>
          <p:cNvSpPr txBox="1">
            <a:spLocks/>
          </p:cNvSpPr>
          <p:nvPr/>
        </p:nvSpPr>
        <p:spPr bwMode="auto">
          <a:xfrm>
            <a:off x="274320" y="459474"/>
            <a:ext cx="11640312" cy="39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b="1" cap="none">
                <a:solidFill>
                  <a:srgbClr val="021F43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algn="ctr"/>
            <a:r>
              <a:rPr lang="en-US" sz="3000" kern="0" dirty="0">
                <a:solidFill>
                  <a:srgbClr val="00B0F0"/>
                </a:solidFill>
                <a:latin typeface="Montserrat" panose="00000500000000000000" pitchFamily="2" charset="0"/>
              </a:rPr>
              <a:t>IFC -  Unmatched Local Presence in Africa</a:t>
            </a:r>
            <a:endParaRPr lang="en-US" sz="3000" kern="0" dirty="0">
              <a:solidFill>
                <a:srgbClr val="003157"/>
              </a:solidFill>
              <a:latin typeface="Montserrat" panose="00000500000000000000" pitchFamily="2" charset="0"/>
            </a:endParaRP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3F82AE0-F67D-4D5A-91C8-ABF0765EB80C}"/>
              </a:ext>
            </a:extLst>
          </p:cNvPr>
          <p:cNvSpPr txBox="1">
            <a:spLocks/>
          </p:cNvSpPr>
          <p:nvPr/>
        </p:nvSpPr>
        <p:spPr bwMode="auto">
          <a:xfrm>
            <a:off x="274321" y="893243"/>
            <a:ext cx="11640311" cy="337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just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buSzTx/>
              <a:buFontTx/>
              <a:buNone/>
              <a:tabLst/>
              <a:defRPr sz="1800" b="0" i="1" u="none">
                <a:solidFill>
                  <a:srgbClr val="7F7F7F"/>
                </a:solidFill>
                <a:latin typeface="+mn-lt"/>
                <a:ea typeface="ＭＳ Ｐゴシック" charset="0"/>
                <a:cs typeface="Arial"/>
              </a:defRPr>
            </a:lvl1pPr>
            <a:lvl2pPr marL="285750" indent="-285750" algn="just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Wingdings" panose="05000000000000000000" pitchFamily="2" charset="2"/>
              <a:buChar char="§"/>
              <a:defRPr sz="1200">
                <a:solidFill>
                  <a:srgbClr val="262626"/>
                </a:solidFill>
                <a:latin typeface="+mn-lt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just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Wingdings" panose="05000000000000000000" pitchFamily="2" charset="2"/>
              <a:buChar char="§"/>
              <a:defRPr sz="1200">
                <a:solidFill>
                  <a:srgbClr val="262626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just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Wingdings" panose="05000000000000000000" pitchFamily="2" charset="2"/>
              <a:buChar char="§"/>
              <a:defRPr sz="1200">
                <a:solidFill>
                  <a:srgbClr val="262626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just" rtl="0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§"/>
              <a:defRPr sz="12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600" i="0" kern="0" dirty="0">
                <a:solidFill>
                  <a:srgbClr val="03336E"/>
                </a:solidFill>
                <a:latin typeface="Montserrat" panose="00000500000000000000" pitchFamily="2" charset="0"/>
              </a:rPr>
              <a:t>50+ years of investing in Afric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8B9CD7B-18EE-4604-8281-36ED7A5F9D32}"/>
              </a:ext>
            </a:extLst>
          </p:cNvPr>
          <p:cNvSpPr txBox="1"/>
          <p:nvPr/>
        </p:nvSpPr>
        <p:spPr>
          <a:xfrm>
            <a:off x="177800" y="6248400"/>
            <a:ext cx="330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0A87AA8-7699-4FDF-834B-1977DB9D6B8A}" type="slidenum">
              <a:rPr lang="en-US" sz="1000" b="1" smtClean="0">
                <a:solidFill>
                  <a:srgbClr val="002F54"/>
                </a:solidFill>
                <a:latin typeface="Montserrat" panose="00000500000000000000" pitchFamily="2" charset="0"/>
              </a:rPr>
              <a:t>2</a:t>
            </a:fld>
            <a:endParaRPr lang="en-US" sz="1000" b="1">
              <a:solidFill>
                <a:srgbClr val="002F54"/>
              </a:solidFill>
              <a:latin typeface="Montserrat" panose="00000500000000000000" pitchFamily="2" charset="0"/>
            </a:endParaRPr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405C1B9F-B568-4442-801A-F27CD47522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9594769"/>
              </p:ext>
            </p:extLst>
          </p:nvPr>
        </p:nvGraphicFramePr>
        <p:xfrm>
          <a:off x="556411" y="1260312"/>
          <a:ext cx="5451984" cy="4988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40" name="Group 39">
            <a:extLst>
              <a:ext uri="{FF2B5EF4-FFF2-40B4-BE49-F238E27FC236}">
                <a16:creationId xmlns:a16="http://schemas.microsoft.com/office/drawing/2014/main" id="{F45C174E-86BB-44EE-B7B6-17BDB44F5765}"/>
              </a:ext>
            </a:extLst>
          </p:cNvPr>
          <p:cNvGrpSpPr/>
          <p:nvPr/>
        </p:nvGrpSpPr>
        <p:grpSpPr>
          <a:xfrm>
            <a:off x="6311348" y="1315539"/>
            <a:ext cx="5170720" cy="4848053"/>
            <a:chOff x="2040255" y="977064"/>
            <a:chExt cx="5053003" cy="4953220"/>
          </a:xfrm>
        </p:grpSpPr>
        <p:pic>
          <p:nvPicPr>
            <p:cNvPr id="44" name="Picture 43" descr="new map.jpg">
              <a:extLst>
                <a:ext uri="{FF2B5EF4-FFF2-40B4-BE49-F238E27FC236}">
                  <a16:creationId xmlns:a16="http://schemas.microsoft.com/office/drawing/2014/main" id="{71E1D23E-254B-4B5E-9CCF-EEBD162A9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rgbClr val="139AF0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041369" y="977064"/>
              <a:ext cx="5051889" cy="4953220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5196D32-6DDB-48A3-9360-962F2FC3C2ED}"/>
                </a:ext>
              </a:extLst>
            </p:cNvPr>
            <p:cNvSpPr/>
            <p:nvPr/>
          </p:nvSpPr>
          <p:spPr bwMode="auto">
            <a:xfrm>
              <a:off x="2120900" y="4999038"/>
              <a:ext cx="1989773" cy="706437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ea typeface="Times New Roman" pitchFamily="-111" charset="0"/>
                <a:cs typeface="Arial"/>
              </a:endParaRPr>
            </a:p>
          </p:txBody>
        </p:sp>
        <p:grpSp>
          <p:nvGrpSpPr>
            <p:cNvPr id="49" name="Group 1028">
              <a:extLst>
                <a:ext uri="{FF2B5EF4-FFF2-40B4-BE49-F238E27FC236}">
                  <a16:creationId xmlns:a16="http://schemas.microsoft.com/office/drawing/2014/main" id="{434D7403-DEA2-4C11-B9A1-E0452ABB1C7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25675" y="5018088"/>
              <a:ext cx="1846263" cy="687387"/>
              <a:chOff x="3787" y="1388"/>
              <a:chExt cx="1197" cy="445"/>
            </a:xfrm>
          </p:grpSpPr>
          <p:sp>
            <p:nvSpPr>
              <p:cNvPr id="117" name="Oval 1029">
                <a:extLst>
                  <a:ext uri="{FF2B5EF4-FFF2-40B4-BE49-F238E27FC236}">
                    <a16:creationId xmlns:a16="http://schemas.microsoft.com/office/drawing/2014/main" id="{C5F8580A-B9FD-4620-9567-BCA65B978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9" y="1670"/>
                <a:ext cx="35" cy="35"/>
              </a:xfrm>
              <a:prstGeom prst="ellipse">
                <a:avLst/>
              </a:prstGeom>
              <a:solidFill>
                <a:srgbClr val="0B5A37">
                  <a:lumMod val="75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endParaRPr>
              </a:p>
            </p:txBody>
          </p:sp>
          <p:sp>
            <p:nvSpPr>
              <p:cNvPr id="118" name="Text Box 1030">
                <a:extLst>
                  <a:ext uri="{FF2B5EF4-FFF2-40B4-BE49-F238E27FC236}">
                    <a16:creationId xmlns:a16="http://schemas.microsoft.com/office/drawing/2014/main" id="{6C4C6166-3B8D-426D-93FE-52CEB7C282B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25" y="1388"/>
                <a:ext cx="1059" cy="4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25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21F43"/>
                    </a:solidFill>
                    <a:effectLst/>
                    <a:uLnTx/>
                    <a:uFillTx/>
                    <a:cs typeface="Arial"/>
                  </a:rPr>
                  <a:t>IFC Hub Offices</a:t>
                </a:r>
              </a:p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25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21F43"/>
                    </a:solidFill>
                    <a:effectLst/>
                    <a:uLnTx/>
                    <a:uFillTx/>
                    <a:cs typeface="Arial"/>
                  </a:rPr>
                  <a:t>IFC Country Offices</a:t>
                </a:r>
              </a:p>
            </p:txBody>
          </p:sp>
          <p:sp>
            <p:nvSpPr>
              <p:cNvPr id="119" name="AutoShape 1031">
                <a:extLst>
                  <a:ext uri="{FF2B5EF4-FFF2-40B4-BE49-F238E27FC236}">
                    <a16:creationId xmlns:a16="http://schemas.microsoft.com/office/drawing/2014/main" id="{1F41AC8B-DBA3-4834-A147-544E24F407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87" y="1488"/>
                <a:ext cx="105" cy="104"/>
              </a:xfrm>
              <a:prstGeom prst="star5">
                <a:avLst/>
              </a:prstGeom>
              <a:solidFill>
                <a:srgbClr val="0B5A37">
                  <a:lumMod val="75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endParaRPr>
              </a:p>
            </p:txBody>
          </p:sp>
        </p:grpSp>
        <p:grpSp>
          <p:nvGrpSpPr>
            <p:cNvPr id="50" name="Group 1084">
              <a:extLst>
                <a:ext uri="{FF2B5EF4-FFF2-40B4-BE49-F238E27FC236}">
                  <a16:creationId xmlns:a16="http://schemas.microsoft.com/office/drawing/2014/main" id="{CF48661A-AF19-44EB-BA76-15293765001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678113" y="1262063"/>
              <a:ext cx="4371975" cy="3009900"/>
              <a:chOff x="1636" y="1068"/>
              <a:chExt cx="2835" cy="1951"/>
            </a:xfrm>
          </p:grpSpPr>
          <p:sp>
            <p:nvSpPr>
              <p:cNvPr id="113" name="Text Box 1085">
                <a:extLst>
                  <a:ext uri="{FF2B5EF4-FFF2-40B4-BE49-F238E27FC236}">
                    <a16:creationId xmlns:a16="http://schemas.microsoft.com/office/drawing/2014/main" id="{17BB2A61-F33A-4CB2-BA57-625814D8A8B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36" y="2794"/>
                <a:ext cx="384" cy="2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27598B"/>
                    </a:solidFill>
                    <a:effectLst/>
                    <a:uLnTx/>
                    <a:uFillTx/>
                    <a:cs typeface="Arial"/>
                  </a:rPr>
                  <a:t>ATLANTIC</a:t>
                </a:r>
              </a:p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27598B"/>
                    </a:solidFill>
                    <a:effectLst/>
                    <a:uLnTx/>
                    <a:uFillTx/>
                    <a:cs typeface="Arial"/>
                  </a:rPr>
                  <a:t>OCEAN</a:t>
                </a:r>
              </a:p>
            </p:txBody>
          </p:sp>
          <p:sp>
            <p:nvSpPr>
              <p:cNvPr id="114" name="Text Box 1086">
                <a:extLst>
                  <a:ext uri="{FF2B5EF4-FFF2-40B4-BE49-F238E27FC236}">
                    <a16:creationId xmlns:a16="http://schemas.microsoft.com/office/drawing/2014/main" id="{9CC68DF0-33CE-4A4E-9C9F-FD41AE289C9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726" y="1068"/>
                <a:ext cx="430" cy="1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27598B"/>
                    </a:solidFill>
                    <a:effectLst/>
                    <a:uLnTx/>
                    <a:uFillTx/>
                    <a:cs typeface="Arial"/>
                  </a:rPr>
                  <a:t>Mediterranean</a:t>
                </a:r>
              </a:p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27598B"/>
                    </a:solidFill>
                    <a:effectLst/>
                    <a:uLnTx/>
                    <a:uFillTx/>
                    <a:cs typeface="Arial"/>
                  </a:rPr>
                  <a:t>Sea</a:t>
                </a:r>
              </a:p>
            </p:txBody>
          </p:sp>
          <p:sp>
            <p:nvSpPr>
              <p:cNvPr id="115" name="Text Box 1087">
                <a:extLst>
                  <a:ext uri="{FF2B5EF4-FFF2-40B4-BE49-F238E27FC236}">
                    <a16:creationId xmlns:a16="http://schemas.microsoft.com/office/drawing/2014/main" id="{BD82721E-EE68-46D4-9645-FD35CB9211B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087" y="2433"/>
                <a:ext cx="384" cy="2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27598B"/>
                    </a:solidFill>
                    <a:effectLst/>
                    <a:uLnTx/>
                    <a:uFillTx/>
                    <a:cs typeface="Arial"/>
                  </a:rPr>
                  <a:t>INDIAN</a:t>
                </a:r>
              </a:p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27598B"/>
                    </a:solidFill>
                    <a:effectLst/>
                    <a:uLnTx/>
                    <a:uFillTx/>
                    <a:cs typeface="Arial"/>
                  </a:rPr>
                  <a:t>OCEAN</a:t>
                </a:r>
              </a:p>
            </p:txBody>
          </p:sp>
          <p:sp>
            <p:nvSpPr>
              <p:cNvPr id="116" name="Text Box 1088">
                <a:extLst>
                  <a:ext uri="{FF2B5EF4-FFF2-40B4-BE49-F238E27FC236}">
                    <a16:creationId xmlns:a16="http://schemas.microsoft.com/office/drawing/2014/main" id="{61C19230-1CC9-4BE9-9BD1-2AB0DECD641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3434738">
                <a:off x="3548" y="1560"/>
                <a:ext cx="294" cy="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27598B"/>
                    </a:solidFill>
                    <a:effectLst/>
                    <a:uLnTx/>
                    <a:uFillTx/>
                    <a:cs typeface="Arial"/>
                  </a:rPr>
                  <a:t>Red Sea</a:t>
                </a:r>
              </a:p>
            </p:txBody>
          </p:sp>
        </p:grpSp>
        <p:sp>
          <p:nvSpPr>
            <p:cNvPr id="51" name="Text Box 1062">
              <a:extLst>
                <a:ext uri="{FF2B5EF4-FFF2-40B4-BE49-F238E27FC236}">
                  <a16:creationId xmlns:a16="http://schemas.microsoft.com/office/drawing/2014/main" id="{A8C6A6D5-E5D0-4AF0-8625-0904C51F71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8035" y="4979353"/>
              <a:ext cx="644525" cy="173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Johannesburg</a:t>
              </a:r>
            </a:p>
          </p:txBody>
        </p:sp>
        <p:sp>
          <p:nvSpPr>
            <p:cNvPr id="52" name="Text Box 1063">
              <a:extLst>
                <a:ext uri="{FF2B5EF4-FFF2-40B4-BE49-F238E27FC236}">
                  <a16:creationId xmlns:a16="http://schemas.microsoft.com/office/drawing/2014/main" id="{C1DAE264-9ECB-430D-AC2A-2D9AE54947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75300" y="5048250"/>
              <a:ext cx="646113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Maputo</a:t>
              </a:r>
            </a:p>
          </p:txBody>
        </p:sp>
        <p:sp>
          <p:nvSpPr>
            <p:cNvPr id="53" name="Text Box 1064">
              <a:extLst>
                <a:ext uri="{FF2B5EF4-FFF2-40B4-BE49-F238E27FC236}">
                  <a16:creationId xmlns:a16="http://schemas.microsoft.com/office/drawing/2014/main" id="{162FBC24-9D32-4EB3-A94C-999347821D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5475" y="4584700"/>
              <a:ext cx="676275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Antananarivo</a:t>
              </a:r>
            </a:p>
          </p:txBody>
        </p:sp>
        <p:sp>
          <p:nvSpPr>
            <p:cNvPr id="54" name="Text Box 1065">
              <a:extLst>
                <a:ext uri="{FF2B5EF4-FFF2-40B4-BE49-F238E27FC236}">
                  <a16:creationId xmlns:a16="http://schemas.microsoft.com/office/drawing/2014/main" id="{F9FC46AE-D1F7-4E88-AE77-C55BC5961A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45025" y="4332288"/>
              <a:ext cx="674688" cy="173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Lusaka</a:t>
              </a:r>
            </a:p>
          </p:txBody>
        </p:sp>
        <p:sp>
          <p:nvSpPr>
            <p:cNvPr id="55" name="Text Box 1066">
              <a:extLst>
                <a:ext uri="{FF2B5EF4-FFF2-40B4-BE49-F238E27FC236}">
                  <a16:creationId xmlns:a16="http://schemas.microsoft.com/office/drawing/2014/main" id="{6C48293B-F2F2-48A7-8030-D4DF5BA010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40255" y="2840355"/>
              <a:ext cx="676275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Freetown</a:t>
              </a:r>
            </a:p>
          </p:txBody>
        </p:sp>
        <p:sp>
          <p:nvSpPr>
            <p:cNvPr id="56" name="Text Box 1067">
              <a:extLst>
                <a:ext uri="{FF2B5EF4-FFF2-40B4-BE49-F238E27FC236}">
                  <a16:creationId xmlns:a16="http://schemas.microsoft.com/office/drawing/2014/main" id="{B3C79A3F-87A8-4112-AAFC-81CC1F7E23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95023" y="3406458"/>
              <a:ext cx="676275" cy="173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Nairobi</a:t>
              </a:r>
            </a:p>
          </p:txBody>
        </p:sp>
        <p:sp>
          <p:nvSpPr>
            <p:cNvPr id="57" name="Text Box 1068">
              <a:extLst>
                <a:ext uri="{FF2B5EF4-FFF2-40B4-BE49-F238E27FC236}">
                  <a16:creationId xmlns:a16="http://schemas.microsoft.com/office/drawing/2014/main" id="{0D61CCC8-1CAE-4FC0-A519-241258C2B8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89575" y="3517900"/>
              <a:ext cx="311150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Kigali</a:t>
              </a:r>
            </a:p>
          </p:txBody>
        </p:sp>
        <p:sp>
          <p:nvSpPr>
            <p:cNvPr id="58" name="Text Box 1069">
              <a:extLst>
                <a:ext uri="{FF2B5EF4-FFF2-40B4-BE49-F238E27FC236}">
                  <a16:creationId xmlns:a16="http://schemas.microsoft.com/office/drawing/2014/main" id="{CBCED9CA-6FBD-4935-84BA-ED3C1E082B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44658" y="3148013"/>
              <a:ext cx="311150" cy="173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Douala</a:t>
              </a:r>
            </a:p>
          </p:txBody>
        </p:sp>
        <p:sp>
          <p:nvSpPr>
            <p:cNvPr id="59" name="Text Box 1071">
              <a:extLst>
                <a:ext uri="{FF2B5EF4-FFF2-40B4-BE49-F238E27FC236}">
                  <a16:creationId xmlns:a16="http://schemas.microsoft.com/office/drawing/2014/main" id="{BFA74437-664A-4641-95C2-83F32DE297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12553" y="2962275"/>
              <a:ext cx="355600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Lagos</a:t>
              </a:r>
            </a:p>
          </p:txBody>
        </p:sp>
        <p:sp>
          <p:nvSpPr>
            <p:cNvPr id="60" name="Text Box 1072">
              <a:extLst>
                <a:ext uri="{FF2B5EF4-FFF2-40B4-BE49-F238E27FC236}">
                  <a16:creationId xmlns:a16="http://schemas.microsoft.com/office/drawing/2014/main" id="{B9529F32-69A0-44BD-B9CC-8A6F7200E7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0448" y="3073400"/>
              <a:ext cx="274637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Accra</a:t>
              </a:r>
            </a:p>
          </p:txBody>
        </p:sp>
        <p:sp>
          <p:nvSpPr>
            <p:cNvPr id="61" name="Text Box 1073">
              <a:extLst>
                <a:ext uri="{FF2B5EF4-FFF2-40B4-BE49-F238E27FC236}">
                  <a16:creationId xmlns:a16="http://schemas.microsoft.com/office/drawing/2014/main" id="{4A5E0FCD-75FD-4E04-AE41-D73E616D1F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49015" y="2607310"/>
              <a:ext cx="625475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Ouagadougou</a:t>
              </a:r>
            </a:p>
          </p:txBody>
        </p:sp>
        <p:sp>
          <p:nvSpPr>
            <p:cNvPr id="62" name="Text Box 1074">
              <a:extLst>
                <a:ext uri="{FF2B5EF4-FFF2-40B4-BE49-F238E27FC236}">
                  <a16:creationId xmlns:a16="http://schemas.microsoft.com/office/drawing/2014/main" id="{DEA1F06E-3613-4B6B-AB1E-0DA68A2B61B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14613" y="3054350"/>
              <a:ext cx="625475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Abidjan</a:t>
              </a:r>
            </a:p>
          </p:txBody>
        </p:sp>
        <p:sp>
          <p:nvSpPr>
            <p:cNvPr id="63" name="Text Box 1075">
              <a:extLst>
                <a:ext uri="{FF2B5EF4-FFF2-40B4-BE49-F238E27FC236}">
                  <a16:creationId xmlns:a16="http://schemas.microsoft.com/office/drawing/2014/main" id="{CBD78742-CDA6-48C1-B479-5F41C46018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20900" y="2444750"/>
              <a:ext cx="385763" cy="17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Dakar</a:t>
              </a:r>
            </a:p>
          </p:txBody>
        </p:sp>
        <p:sp>
          <p:nvSpPr>
            <p:cNvPr id="64" name="Text Box 1076">
              <a:extLst>
                <a:ext uri="{FF2B5EF4-FFF2-40B4-BE49-F238E27FC236}">
                  <a16:creationId xmlns:a16="http://schemas.microsoft.com/office/drawing/2014/main" id="{241E34A3-9876-42EC-ADD7-EE805F5788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02213" y="1543050"/>
              <a:ext cx="385762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Cairo</a:t>
              </a:r>
            </a:p>
          </p:txBody>
        </p:sp>
        <p:sp>
          <p:nvSpPr>
            <p:cNvPr id="65" name="Text Box 1077">
              <a:extLst>
                <a:ext uri="{FF2B5EF4-FFF2-40B4-BE49-F238E27FC236}">
                  <a16:creationId xmlns:a16="http://schemas.microsoft.com/office/drawing/2014/main" id="{CF026A36-5213-4DBE-A4E5-82759FAE9CF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61038" y="1444625"/>
              <a:ext cx="385762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Amman</a:t>
              </a:r>
            </a:p>
          </p:txBody>
        </p:sp>
        <p:sp>
          <p:nvSpPr>
            <p:cNvPr id="66" name="Text Box 1078">
              <a:extLst>
                <a:ext uri="{FF2B5EF4-FFF2-40B4-BE49-F238E27FC236}">
                  <a16:creationId xmlns:a16="http://schemas.microsoft.com/office/drawing/2014/main" id="{5B75C0BD-D093-4AF1-BB77-D95EFE38032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11763" y="1395413"/>
              <a:ext cx="385762" cy="173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Jerusalem</a:t>
              </a:r>
            </a:p>
          </p:txBody>
        </p:sp>
        <p:sp>
          <p:nvSpPr>
            <p:cNvPr id="67" name="Text Box 1079">
              <a:extLst>
                <a:ext uri="{FF2B5EF4-FFF2-40B4-BE49-F238E27FC236}">
                  <a16:creationId xmlns:a16="http://schemas.microsoft.com/office/drawing/2014/main" id="{696CF1DD-F7C3-475F-9680-1607A0F44D6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60975" y="1296988"/>
              <a:ext cx="385763" cy="173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Beirut</a:t>
              </a:r>
            </a:p>
          </p:txBody>
        </p:sp>
        <p:sp>
          <p:nvSpPr>
            <p:cNvPr id="68" name="Text Box 1080">
              <a:extLst>
                <a:ext uri="{FF2B5EF4-FFF2-40B4-BE49-F238E27FC236}">
                  <a16:creationId xmlns:a16="http://schemas.microsoft.com/office/drawing/2014/main" id="{068BBE75-155A-4BAB-8165-9AD2CC6568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29000" y="1117600"/>
              <a:ext cx="385763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Algiers</a:t>
              </a:r>
            </a:p>
          </p:txBody>
        </p:sp>
        <p:sp>
          <p:nvSpPr>
            <p:cNvPr id="69" name="Text Box 1081">
              <a:extLst>
                <a:ext uri="{FF2B5EF4-FFF2-40B4-BE49-F238E27FC236}">
                  <a16:creationId xmlns:a16="http://schemas.microsoft.com/office/drawing/2014/main" id="{A78A1E8F-70BE-4288-BFD0-E7904F9E05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60688" y="1303338"/>
              <a:ext cx="384175" cy="17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Rabat</a:t>
              </a:r>
            </a:p>
          </p:txBody>
        </p:sp>
        <p:sp>
          <p:nvSpPr>
            <p:cNvPr id="70" name="Text Box 1082">
              <a:extLst>
                <a:ext uri="{FF2B5EF4-FFF2-40B4-BE49-F238E27FC236}">
                  <a16:creationId xmlns:a16="http://schemas.microsoft.com/office/drawing/2014/main" id="{A376C98A-40BA-40F5-AD74-683C035849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69050" y="2398713"/>
              <a:ext cx="385763" cy="17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Sana’a</a:t>
              </a:r>
            </a:p>
          </p:txBody>
        </p:sp>
        <p:sp>
          <p:nvSpPr>
            <p:cNvPr id="71" name="Text Box 1083">
              <a:extLst>
                <a:ext uri="{FF2B5EF4-FFF2-40B4-BE49-F238E27FC236}">
                  <a16:creationId xmlns:a16="http://schemas.microsoft.com/office/drawing/2014/main" id="{E8607670-CE7F-49C6-BCAA-8D0965ACA0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0325" y="1812925"/>
              <a:ext cx="385763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Dubai</a:t>
              </a:r>
            </a:p>
          </p:txBody>
        </p:sp>
        <p:sp>
          <p:nvSpPr>
            <p:cNvPr id="72" name="Text Box 1074">
              <a:extLst>
                <a:ext uri="{FF2B5EF4-FFF2-40B4-BE49-F238E27FC236}">
                  <a16:creationId xmlns:a16="http://schemas.microsoft.com/office/drawing/2014/main" id="{D0E3DC96-EE53-4B3F-ACC8-3DC74B88F1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20913" y="2978150"/>
              <a:ext cx="625475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Monrovia</a:t>
              </a:r>
            </a:p>
          </p:txBody>
        </p:sp>
        <p:sp>
          <p:nvSpPr>
            <p:cNvPr id="73" name="Text Box 1074">
              <a:extLst>
                <a:ext uri="{FF2B5EF4-FFF2-40B4-BE49-F238E27FC236}">
                  <a16:creationId xmlns:a16="http://schemas.microsoft.com/office/drawing/2014/main" id="{8467AC9D-ED49-4838-B130-04990B0800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3988" y="3644900"/>
              <a:ext cx="625475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Kinshasa</a:t>
              </a:r>
            </a:p>
          </p:txBody>
        </p:sp>
        <p:sp>
          <p:nvSpPr>
            <p:cNvPr id="74" name="Oval 1036">
              <a:extLst>
                <a:ext uri="{FF2B5EF4-FFF2-40B4-BE49-F238E27FC236}">
                  <a16:creationId xmlns:a16="http://schemas.microsoft.com/office/drawing/2014/main" id="{3C80F361-98F2-47E0-99ED-B0E81FE605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0725" y="3113088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75" name="AutoShape 1037">
              <a:extLst>
                <a:ext uri="{FF2B5EF4-FFF2-40B4-BE49-F238E27FC236}">
                  <a16:creationId xmlns:a16="http://schemas.microsoft.com/office/drawing/2014/main" id="{27084E1A-A67C-4AD2-970D-5CAEA0961D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4150" y="4986338"/>
              <a:ext cx="161925" cy="160337"/>
            </a:xfrm>
            <a:prstGeom prst="star5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76" name="Oval 1038">
              <a:extLst>
                <a:ext uri="{FF2B5EF4-FFF2-40B4-BE49-F238E27FC236}">
                  <a16:creationId xmlns:a16="http://schemas.microsoft.com/office/drawing/2014/main" id="{8FAABF21-229E-4C5A-96C1-C9D34D435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1550" y="3089275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77" name="Oval 1039">
              <a:extLst>
                <a:ext uri="{FF2B5EF4-FFF2-40B4-BE49-F238E27FC236}">
                  <a16:creationId xmlns:a16="http://schemas.microsoft.com/office/drawing/2014/main" id="{A33ADEF2-0329-4A9F-9A00-98EF380D0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0363" y="3214688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78" name="Oval 1040">
              <a:extLst>
                <a:ext uri="{FF2B5EF4-FFF2-40B4-BE49-F238E27FC236}">
                  <a16:creationId xmlns:a16="http://schemas.microsoft.com/office/drawing/2014/main" id="{7D77382B-3E8D-42F2-BF49-7A40871566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7463" y="3033713"/>
              <a:ext cx="55562" cy="55562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79" name="Oval 1041">
              <a:extLst>
                <a:ext uri="{FF2B5EF4-FFF2-40B4-BE49-F238E27FC236}">
                  <a16:creationId xmlns:a16="http://schemas.microsoft.com/office/drawing/2014/main" id="{DAA73E59-887A-4BE6-B96A-F9A21B5142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9725" y="3579813"/>
              <a:ext cx="55563" cy="55562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0" name="Oval 1043">
              <a:extLst>
                <a:ext uri="{FF2B5EF4-FFF2-40B4-BE49-F238E27FC236}">
                  <a16:creationId xmlns:a16="http://schemas.microsoft.com/office/drawing/2014/main" id="{5C6823B2-DD6A-4C0C-B95B-3A3CB1592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025" y="2927350"/>
              <a:ext cx="55563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1" name="Oval 1044">
              <a:extLst>
                <a:ext uri="{FF2B5EF4-FFF2-40B4-BE49-F238E27FC236}">
                  <a16:creationId xmlns:a16="http://schemas.microsoft.com/office/drawing/2014/main" id="{F0467393-8522-4A6F-BB1F-F943ED57EB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4475" y="4387850"/>
              <a:ext cx="55563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2" name="Oval 1046">
              <a:extLst>
                <a:ext uri="{FF2B5EF4-FFF2-40B4-BE49-F238E27FC236}">
                  <a16:creationId xmlns:a16="http://schemas.microsoft.com/office/drawing/2014/main" id="{0442746D-EB34-42F2-875E-7D2D70B256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6425" y="1512888"/>
              <a:ext cx="55563" cy="55562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3" name="Oval 1047">
              <a:extLst>
                <a:ext uri="{FF2B5EF4-FFF2-40B4-BE49-F238E27FC236}">
                  <a16:creationId xmlns:a16="http://schemas.microsoft.com/office/drawing/2014/main" id="{5791639B-4BC8-4B0F-A878-36481D965D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7050" y="1493838"/>
              <a:ext cx="55563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4" name="Oval 1048">
              <a:extLst>
                <a:ext uri="{FF2B5EF4-FFF2-40B4-BE49-F238E27FC236}">
                  <a16:creationId xmlns:a16="http://schemas.microsoft.com/office/drawing/2014/main" id="{96CF16CA-02A5-41C0-832B-A4ED681B7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8325" y="1387475"/>
              <a:ext cx="55563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5" name="Oval 1049">
              <a:extLst>
                <a:ext uri="{FF2B5EF4-FFF2-40B4-BE49-F238E27FC236}">
                  <a16:creationId xmlns:a16="http://schemas.microsoft.com/office/drawing/2014/main" id="{19F58662-EAB2-4854-ADD0-932595E2B3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7150" y="4664075"/>
              <a:ext cx="55563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6" name="Oval 1050">
              <a:extLst>
                <a:ext uri="{FF2B5EF4-FFF2-40B4-BE49-F238E27FC236}">
                  <a16:creationId xmlns:a16="http://schemas.microsoft.com/office/drawing/2014/main" id="{CBF0C4EE-64C7-4141-9F78-2C8952AA1C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7038" y="5080000"/>
              <a:ext cx="55562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7" name="AutoShape 1051">
              <a:extLst>
                <a:ext uri="{FF2B5EF4-FFF2-40B4-BE49-F238E27FC236}">
                  <a16:creationId xmlns:a16="http://schemas.microsoft.com/office/drawing/2014/main" id="{BAA1296D-B38E-4353-90BD-ACE3D4B1E5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2738" y="1519238"/>
              <a:ext cx="161925" cy="160337"/>
            </a:xfrm>
            <a:prstGeom prst="star5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8" name="Oval 1054">
              <a:extLst>
                <a:ext uri="{FF2B5EF4-FFF2-40B4-BE49-F238E27FC236}">
                  <a16:creationId xmlns:a16="http://schemas.microsoft.com/office/drawing/2014/main" id="{3D6B6DDA-13B1-454D-A19B-B64ECD921C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5038" y="2676525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89" name="Oval 1056">
              <a:extLst>
                <a:ext uri="{FF2B5EF4-FFF2-40B4-BE49-F238E27FC236}">
                  <a16:creationId xmlns:a16="http://schemas.microsoft.com/office/drawing/2014/main" id="{C5683664-7F4C-40B2-892E-72C180C82E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2863" y="1195388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90" name="Oval 1057">
              <a:extLst>
                <a:ext uri="{FF2B5EF4-FFF2-40B4-BE49-F238E27FC236}">
                  <a16:creationId xmlns:a16="http://schemas.microsoft.com/office/drawing/2014/main" id="{36903D2A-F19D-46D4-953B-CA30D223A8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1213" y="1377950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91" name="Oval 1058">
              <a:extLst>
                <a:ext uri="{FF2B5EF4-FFF2-40B4-BE49-F238E27FC236}">
                  <a16:creationId xmlns:a16="http://schemas.microsoft.com/office/drawing/2014/main" id="{C9B19B71-7C71-45E4-9CE0-A9EC36156C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38" y="2457450"/>
              <a:ext cx="55562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92" name="Oval 1059">
              <a:extLst>
                <a:ext uri="{FF2B5EF4-FFF2-40B4-BE49-F238E27FC236}">
                  <a16:creationId xmlns:a16="http://schemas.microsoft.com/office/drawing/2014/main" id="{231063F5-F3B4-4827-961A-E5B9903D1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1488" y="1873250"/>
              <a:ext cx="55562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93" name="Oval 1036">
              <a:extLst>
                <a:ext uri="{FF2B5EF4-FFF2-40B4-BE49-F238E27FC236}">
                  <a16:creationId xmlns:a16="http://schemas.microsoft.com/office/drawing/2014/main" id="{752D2DB9-0CD6-4E50-B845-8DF1EF4F4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3850" y="3014663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94" name="Oval 1036">
              <a:extLst>
                <a:ext uri="{FF2B5EF4-FFF2-40B4-BE49-F238E27FC236}">
                  <a16:creationId xmlns:a16="http://schemas.microsoft.com/office/drawing/2014/main" id="{1AE774B5-05A3-4F07-ABCA-54E9238AF7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6450" y="3713163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95" name="Oval 1042">
              <a:extLst>
                <a:ext uri="{FF2B5EF4-FFF2-40B4-BE49-F238E27FC236}">
                  <a16:creationId xmlns:a16="http://schemas.microsoft.com/office/drawing/2014/main" id="{0BDECFA4-DDC0-461E-A847-1DBC3A27CD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2800" y="2841625"/>
              <a:ext cx="55563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96" name="Text Box 1067">
              <a:extLst>
                <a:ext uri="{FF2B5EF4-FFF2-40B4-BE49-F238E27FC236}">
                  <a16:creationId xmlns:a16="http://schemas.microsoft.com/office/drawing/2014/main" id="{8F718D6A-AEDE-48CE-BC7C-D07074EBB54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82653" y="2770505"/>
              <a:ext cx="676275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Addis Ababa</a:t>
              </a:r>
            </a:p>
          </p:txBody>
        </p:sp>
        <p:sp>
          <p:nvSpPr>
            <p:cNvPr id="97" name="AutoShape 1051">
              <a:extLst>
                <a:ext uri="{FF2B5EF4-FFF2-40B4-BE49-F238E27FC236}">
                  <a16:creationId xmlns:a16="http://schemas.microsoft.com/office/drawing/2014/main" id="{F2D7A028-B1A1-4F71-9C4A-F98DBBFE96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2063" y="2436813"/>
              <a:ext cx="161925" cy="160337"/>
            </a:xfrm>
            <a:prstGeom prst="star5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98" name="AutoShape 1051">
              <a:extLst>
                <a:ext uri="{FF2B5EF4-FFF2-40B4-BE49-F238E27FC236}">
                  <a16:creationId xmlns:a16="http://schemas.microsoft.com/office/drawing/2014/main" id="{1EFBACEE-8C1C-4E4B-8FB9-8721AB5C6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8175" y="3397250"/>
              <a:ext cx="161925" cy="160338"/>
            </a:xfrm>
            <a:prstGeom prst="star5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99" name="Oval 1049">
              <a:extLst>
                <a:ext uri="{FF2B5EF4-FFF2-40B4-BE49-F238E27FC236}">
                  <a16:creationId xmlns:a16="http://schemas.microsoft.com/office/drawing/2014/main" id="{04C949DF-7EFA-4925-B971-8F92EBAB86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2330" y="3841115"/>
              <a:ext cx="55563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00" name="Text Box 1068">
              <a:extLst>
                <a:ext uri="{FF2B5EF4-FFF2-40B4-BE49-F238E27FC236}">
                  <a16:creationId xmlns:a16="http://schemas.microsoft.com/office/drawing/2014/main" id="{F3CCD483-4AC7-4BC8-8A1E-B552F86248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38214" y="3754120"/>
              <a:ext cx="682625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Dar es-Salaam</a:t>
              </a:r>
            </a:p>
          </p:txBody>
        </p:sp>
        <p:sp>
          <p:nvSpPr>
            <p:cNvPr id="101" name="Oval 1049">
              <a:extLst>
                <a:ext uri="{FF2B5EF4-FFF2-40B4-BE49-F238E27FC236}">
                  <a16:creationId xmlns:a16="http://schemas.microsoft.com/office/drawing/2014/main" id="{9B8F62E1-432C-459C-AAA3-7049253498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1790" y="3703955"/>
              <a:ext cx="55563" cy="55563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02" name="Text Box 1068">
              <a:extLst>
                <a:ext uri="{FF2B5EF4-FFF2-40B4-BE49-F238E27FC236}">
                  <a16:creationId xmlns:a16="http://schemas.microsoft.com/office/drawing/2014/main" id="{60BEAC4E-CF34-406D-BE79-ECD451FBB0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12334" y="3616960"/>
              <a:ext cx="682625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Bujumbura</a:t>
              </a:r>
            </a:p>
          </p:txBody>
        </p:sp>
        <p:sp>
          <p:nvSpPr>
            <p:cNvPr id="103" name="Text Box 1068">
              <a:extLst>
                <a:ext uri="{FF2B5EF4-FFF2-40B4-BE49-F238E27FC236}">
                  <a16:creationId xmlns:a16="http://schemas.microsoft.com/office/drawing/2014/main" id="{BF45CC8C-3AEE-4FF5-ABAB-559BE5C7A64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37814" y="2458720"/>
              <a:ext cx="682625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Bamako</a:t>
              </a:r>
            </a:p>
          </p:txBody>
        </p:sp>
        <p:sp>
          <p:nvSpPr>
            <p:cNvPr id="104" name="Oval 1055">
              <a:extLst>
                <a:ext uri="{FF2B5EF4-FFF2-40B4-BE49-F238E27FC236}">
                  <a16:creationId xmlns:a16="http://schemas.microsoft.com/office/drawing/2014/main" id="{E3C04091-2CC6-4D04-ABDA-44D8359FA2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5473" y="2639378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05" name="Oval 1055">
              <a:extLst>
                <a:ext uri="{FF2B5EF4-FFF2-40B4-BE49-F238E27FC236}">
                  <a16:creationId xmlns:a16="http://schemas.microsoft.com/office/drawing/2014/main" id="{D8517DD1-F436-4D7A-A503-22436BFCAA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2813" y="3127058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06" name="Text Box 1070">
              <a:extLst>
                <a:ext uri="{FF2B5EF4-FFF2-40B4-BE49-F238E27FC236}">
                  <a16:creationId xmlns:a16="http://schemas.microsoft.com/office/drawing/2014/main" id="{DD9F403A-167E-404B-A74F-AF3871140F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9173" y="3060700"/>
              <a:ext cx="546100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Bangui</a:t>
              </a:r>
            </a:p>
          </p:txBody>
        </p:sp>
        <p:sp>
          <p:nvSpPr>
            <p:cNvPr id="107" name="Oval 1055">
              <a:extLst>
                <a:ext uri="{FF2B5EF4-FFF2-40B4-BE49-F238E27FC236}">
                  <a16:creationId xmlns:a16="http://schemas.microsoft.com/office/drawing/2014/main" id="{22A20526-6BE1-43D3-85E7-48DB54533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8633" y="3111818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08" name="Text Box 1070">
              <a:extLst>
                <a:ext uri="{FF2B5EF4-FFF2-40B4-BE49-F238E27FC236}">
                  <a16:creationId xmlns:a16="http://schemas.microsoft.com/office/drawing/2014/main" id="{021681EE-8A4D-4DD9-BF6E-EA58E8E0873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92053" y="3030220"/>
              <a:ext cx="546100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Juba</a:t>
              </a:r>
            </a:p>
          </p:txBody>
        </p:sp>
        <p:sp>
          <p:nvSpPr>
            <p:cNvPr id="109" name="Text Box 1080">
              <a:extLst>
                <a:ext uri="{FF2B5EF4-FFF2-40B4-BE49-F238E27FC236}">
                  <a16:creationId xmlns:a16="http://schemas.microsoft.com/office/drawing/2014/main" id="{C323C19B-CBED-40A1-82AB-9F20D9B51B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3988" y="1083730"/>
              <a:ext cx="286806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Tunis</a:t>
              </a:r>
            </a:p>
          </p:txBody>
        </p:sp>
        <p:sp>
          <p:nvSpPr>
            <p:cNvPr id="110" name="Oval 1056">
              <a:extLst>
                <a:ext uri="{FF2B5EF4-FFF2-40B4-BE49-F238E27FC236}">
                  <a16:creationId xmlns:a16="http://schemas.microsoft.com/office/drawing/2014/main" id="{A20669FA-31D6-4A6B-A23A-3589CDD30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7730" y="1165755"/>
              <a:ext cx="53975" cy="53975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11" name="Text Box 1071">
              <a:extLst>
                <a:ext uri="{FF2B5EF4-FFF2-40B4-BE49-F238E27FC236}">
                  <a16:creationId xmlns:a16="http://schemas.microsoft.com/office/drawing/2014/main" id="{B17730E0-8EA6-4271-A293-710225B290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10673" y="2776347"/>
              <a:ext cx="355600" cy="173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cs typeface="Arial"/>
                </a:rPr>
                <a:t>Abuja</a:t>
              </a:r>
            </a:p>
          </p:txBody>
        </p:sp>
        <p:sp>
          <p:nvSpPr>
            <p:cNvPr id="112" name="Oval 1040">
              <a:extLst>
                <a:ext uri="{FF2B5EF4-FFF2-40B4-BE49-F238E27FC236}">
                  <a16:creationId xmlns:a16="http://schemas.microsoft.com/office/drawing/2014/main" id="{3D2BD49D-AC6D-4EA2-B9E0-09902F0082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5583" y="2847785"/>
              <a:ext cx="55562" cy="55562"/>
            </a:xfrm>
            <a:prstGeom prst="ellipse">
              <a:avLst/>
            </a:prstGeom>
            <a:solidFill>
              <a:srgbClr val="0B5A37">
                <a:lumMod val="75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45395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340423F5-C8F1-49D4-BFB3-A9C05E46BC76}"/>
              </a:ext>
            </a:extLst>
          </p:cNvPr>
          <p:cNvSpPr/>
          <p:nvPr/>
        </p:nvSpPr>
        <p:spPr>
          <a:xfrm>
            <a:off x="5717947" y="4184716"/>
            <a:ext cx="6055755" cy="1897675"/>
          </a:xfrm>
          <a:prstGeom prst="roundRect">
            <a:avLst>
              <a:gd name="adj" fmla="val 4515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lIns="0" tIns="0" rIns="0" bIns="182880" rtlCol="0" anchor="b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5100"/>
            </a:pPr>
            <a:endParaRPr lang="en-US" sz="1050" kern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13CC368-56C0-4E16-A711-6F2215B103A7}"/>
              </a:ext>
            </a:extLst>
          </p:cNvPr>
          <p:cNvSpPr/>
          <p:nvPr/>
        </p:nvSpPr>
        <p:spPr>
          <a:xfrm>
            <a:off x="5717947" y="325058"/>
            <a:ext cx="6055756" cy="2229739"/>
          </a:xfrm>
          <a:prstGeom prst="roundRect">
            <a:avLst>
              <a:gd name="adj" fmla="val 4515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lIns="0" tIns="0" rIns="0" bIns="182880" rtlCol="0" anchor="b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5100"/>
            </a:pPr>
            <a:endParaRPr lang="en-US" sz="1050" kern="0">
              <a:solidFill>
                <a:srgbClr val="002F54"/>
              </a:solidFill>
              <a:latin typeface="Arial Black" panose="020B0A040201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E2F239A-B642-45F2-9E69-B951AEA11A7A}"/>
              </a:ext>
            </a:extLst>
          </p:cNvPr>
          <p:cNvSpPr/>
          <p:nvPr/>
        </p:nvSpPr>
        <p:spPr>
          <a:xfrm>
            <a:off x="9496870" y="1542584"/>
            <a:ext cx="1392225" cy="5869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94AD585-461A-4468-A1E6-D17A9978A4B0}"/>
              </a:ext>
            </a:extLst>
          </p:cNvPr>
          <p:cNvSpPr/>
          <p:nvPr/>
        </p:nvSpPr>
        <p:spPr>
          <a:xfrm>
            <a:off x="9525000" y="797090"/>
            <a:ext cx="1353743" cy="750000"/>
          </a:xfrm>
          <a:prstGeom prst="rect">
            <a:avLst/>
          </a:prstGeom>
          <a:solidFill>
            <a:srgbClr val="92D05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562AB71-7B57-444A-B5DF-CF04CFF2032B}"/>
              </a:ext>
            </a:extLst>
          </p:cNvPr>
          <p:cNvSpPr/>
          <p:nvPr/>
        </p:nvSpPr>
        <p:spPr>
          <a:xfrm>
            <a:off x="7784863" y="780176"/>
            <a:ext cx="1749658" cy="7672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73C0393-95D2-4B59-9B9E-0B5F00DE8A03}"/>
              </a:ext>
            </a:extLst>
          </p:cNvPr>
          <p:cNvCxnSpPr>
            <a:cxnSpLocks/>
          </p:cNvCxnSpPr>
          <p:nvPr/>
        </p:nvCxnSpPr>
        <p:spPr>
          <a:xfrm>
            <a:off x="7746245" y="1542584"/>
            <a:ext cx="3207505" cy="2273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D3A7EDE-839C-420E-B9FC-C513194C5C4C}"/>
              </a:ext>
            </a:extLst>
          </p:cNvPr>
          <p:cNvCxnSpPr>
            <a:cxnSpLocks/>
          </p:cNvCxnSpPr>
          <p:nvPr/>
        </p:nvCxnSpPr>
        <p:spPr>
          <a:xfrm>
            <a:off x="9527525" y="1291410"/>
            <a:ext cx="0" cy="1347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0F15462-DA12-483B-AE7F-9D12FBA7EC15}"/>
              </a:ext>
            </a:extLst>
          </p:cNvPr>
          <p:cNvGrpSpPr/>
          <p:nvPr/>
        </p:nvGrpSpPr>
        <p:grpSpPr>
          <a:xfrm>
            <a:off x="525682" y="2090172"/>
            <a:ext cx="3976869" cy="2677656"/>
            <a:chOff x="340487" y="2551837"/>
            <a:chExt cx="3976869" cy="2677656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89EC8EB-CD90-490D-AA13-5CECDEC23310}"/>
                </a:ext>
              </a:extLst>
            </p:cNvPr>
            <p:cNvSpPr txBox="1"/>
            <p:nvPr/>
          </p:nvSpPr>
          <p:spPr>
            <a:xfrm>
              <a:off x="340487" y="2551837"/>
              <a:ext cx="3976869" cy="17543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3600" b="1" kern="0">
                  <a:solidFill>
                    <a:srgbClr val="00B0F0"/>
                  </a:solidFill>
                  <a:latin typeface="Montserrat" panose="00000500000000000000" pitchFamily="2" charset="0"/>
                </a:rPr>
                <a:t>The Affordable </a:t>
              </a:r>
              <a:r>
                <a:rPr lang="en-US" sz="3600" b="1" kern="0">
                  <a:solidFill>
                    <a:srgbClr val="003157"/>
                  </a:solidFill>
                  <a:latin typeface="Montserrat" panose="00000500000000000000" pitchFamily="2" charset="0"/>
                </a:rPr>
                <a:t>Healthcare Value Chain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A03CBA0-B3E1-4023-A57B-6C4E1ED979FA}"/>
                </a:ext>
              </a:extLst>
            </p:cNvPr>
            <p:cNvSpPr txBox="1"/>
            <p:nvPr/>
          </p:nvSpPr>
          <p:spPr>
            <a:xfrm>
              <a:off x="340487" y="4306163"/>
              <a:ext cx="3559216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i="0" kern="0">
                  <a:solidFill>
                    <a:srgbClr val="03336E"/>
                  </a:solidFill>
                  <a:latin typeface="Montserrat" panose="00000500000000000000" pitchFamily="2" charset="0"/>
                </a:rPr>
                <a:t>Many developing countries suffer from poor access to affordable quality healthcare</a:t>
              </a:r>
            </a:p>
          </p:txBody>
        </p:sp>
      </p:grpSp>
      <p:sp>
        <p:nvSpPr>
          <p:cNvPr id="48" name="5. Source">
            <a:extLst>
              <a:ext uri="{FF2B5EF4-FFF2-40B4-BE49-F238E27FC236}">
                <a16:creationId xmlns:a16="http://schemas.microsoft.com/office/drawing/2014/main" id="{4A8B80B0-3CC5-4A04-8748-C35A1A1044D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1074" y="6523736"/>
            <a:ext cx="8353332" cy="133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95350">
              <a:defRPr/>
            </a:pPr>
            <a:r>
              <a:rPr lang="en-US" sz="600" i="1">
                <a:solidFill>
                  <a:prstClr val="black">
                    <a:lumMod val="65000"/>
                    <a:lumOff val="35000"/>
                  </a:prstClr>
                </a:solidFill>
                <a:latin typeface="Montserrat" panose="00000500000000000000" pitchFamily="2" charset="0"/>
                <a:ea typeface="ＭＳ Ｐゴシック"/>
              </a:rPr>
              <a:t>Source: </a:t>
            </a:r>
            <a:r>
              <a:rPr lang="en-US" sz="600" i="1" baseline="30000">
                <a:solidFill>
                  <a:prstClr val="black">
                    <a:lumMod val="65000"/>
                    <a:lumOff val="35000"/>
                  </a:prstClr>
                </a:solidFill>
                <a:latin typeface="Montserrat" panose="00000500000000000000" pitchFamily="2" charset="0"/>
                <a:ea typeface="ＭＳ Ｐゴシック"/>
              </a:rPr>
              <a:t>1 </a:t>
            </a:r>
            <a:r>
              <a:rPr lang="en-US" sz="600" i="1">
                <a:solidFill>
                  <a:prstClr val="black">
                    <a:lumMod val="65000"/>
                    <a:lumOff val="35000"/>
                  </a:prstClr>
                </a:solidFill>
                <a:latin typeface="Montserrat" panose="00000500000000000000" pitchFamily="2" charset="0"/>
                <a:ea typeface="ＭＳ Ｐゴシック"/>
              </a:rPr>
              <a:t>World Bank WDI Database (2020); </a:t>
            </a:r>
            <a:r>
              <a:rPr lang="en-US" sz="600" i="1" baseline="30000">
                <a:solidFill>
                  <a:prstClr val="black">
                    <a:lumMod val="65000"/>
                    <a:lumOff val="35000"/>
                  </a:prstClr>
                </a:solidFill>
                <a:latin typeface="Montserrat" panose="00000500000000000000" pitchFamily="2" charset="0"/>
                <a:ea typeface="ＭＳ Ｐゴシック"/>
              </a:rPr>
              <a:t>2 </a:t>
            </a:r>
            <a:r>
              <a:rPr lang="en-US" sz="600" i="1">
                <a:solidFill>
                  <a:prstClr val="black">
                    <a:lumMod val="65000"/>
                    <a:lumOff val="35000"/>
                  </a:prstClr>
                </a:solidFill>
                <a:latin typeface="Montserrat" panose="00000500000000000000" pitchFamily="2" charset="0"/>
                <a:ea typeface="ＭＳ Ｐゴシック"/>
              </a:rPr>
              <a:t>The Lancet Healthcare and Quality Index (2015), based on the Global Burden of Disease Study; </a:t>
            </a:r>
            <a:r>
              <a:rPr lang="en-US" sz="600" i="1" baseline="30000">
                <a:solidFill>
                  <a:prstClr val="black">
                    <a:lumMod val="65000"/>
                    <a:lumOff val="35000"/>
                  </a:prstClr>
                </a:solidFill>
                <a:latin typeface="Montserrat" panose="00000500000000000000" pitchFamily="2" charset="0"/>
                <a:ea typeface="ＭＳ Ｐゴシック"/>
              </a:rPr>
              <a:t>3 </a:t>
            </a:r>
            <a:r>
              <a:rPr lang="en-US" sz="600" i="1">
                <a:solidFill>
                  <a:prstClr val="black">
                    <a:lumMod val="65000"/>
                    <a:lumOff val="35000"/>
                  </a:prstClr>
                </a:solidFill>
                <a:latin typeface="Montserrat" panose="00000500000000000000" pitchFamily="2" charset="0"/>
                <a:ea typeface="ＭＳ Ｐゴシック"/>
              </a:rPr>
              <a:t>World Bank WDI Database (2020); </a:t>
            </a:r>
            <a:r>
              <a:rPr lang="en-US" sz="600" i="1" baseline="30000">
                <a:solidFill>
                  <a:prstClr val="black">
                    <a:lumMod val="65000"/>
                    <a:lumOff val="35000"/>
                  </a:prstClr>
                </a:solidFill>
                <a:latin typeface="Montserrat" panose="00000500000000000000" pitchFamily="2" charset="0"/>
                <a:ea typeface="ＭＳ Ｐゴシック"/>
              </a:rPr>
              <a:t>4 </a:t>
            </a:r>
            <a:r>
              <a:rPr lang="en-US" sz="600" i="1">
                <a:solidFill>
                  <a:prstClr val="black">
                    <a:lumMod val="65000"/>
                    <a:lumOff val="35000"/>
                  </a:prstClr>
                </a:solidFill>
                <a:latin typeface="Montserrat" panose="00000500000000000000" pitchFamily="2" charset="0"/>
                <a:ea typeface="ＭＳ Ｐゴシック"/>
              </a:rPr>
              <a:t>World Bank WDI Database (2020)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B304333-25D5-468E-9BDB-715B612A5468}"/>
              </a:ext>
            </a:extLst>
          </p:cNvPr>
          <p:cNvSpPr txBox="1"/>
          <p:nvPr/>
        </p:nvSpPr>
        <p:spPr>
          <a:xfrm>
            <a:off x="177800" y="6248400"/>
            <a:ext cx="330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0A87AA8-7699-4FDF-834B-1977DB9D6B8A}" type="slidenum">
              <a:rPr lang="en-US" sz="1000" b="1" smtClean="0">
                <a:solidFill>
                  <a:srgbClr val="002F54"/>
                </a:solidFill>
                <a:latin typeface="Montserrat" panose="00000500000000000000" pitchFamily="2" charset="0"/>
              </a:rPr>
              <a:t>3</a:t>
            </a:fld>
            <a:endParaRPr lang="en-US" sz="1000" b="1">
              <a:solidFill>
                <a:srgbClr val="002F54"/>
              </a:solidFill>
              <a:latin typeface="Montserrat" panose="00000500000000000000" pitchFamily="2" charset="0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769EB765-6070-4AEF-ADE7-AF9D664704B3}"/>
              </a:ext>
            </a:extLst>
          </p:cNvPr>
          <p:cNvSpPr/>
          <p:nvPr/>
        </p:nvSpPr>
        <p:spPr>
          <a:xfrm>
            <a:off x="4707105" y="2682940"/>
            <a:ext cx="6078280" cy="1369667"/>
          </a:xfrm>
          <a:prstGeom prst="roundRect">
            <a:avLst>
              <a:gd name="adj" fmla="val 4515"/>
            </a:avLst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lIns="0" tIns="0" rIns="0" bIns="182880" rtlCol="0" anchor="b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5100"/>
            </a:pPr>
            <a:endParaRPr lang="en-US" sz="1050" kern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82AB865-2043-4610-BD56-F72F1DDC85FE}"/>
              </a:ext>
            </a:extLst>
          </p:cNvPr>
          <p:cNvSpPr txBox="1"/>
          <p:nvPr/>
        </p:nvSpPr>
        <p:spPr>
          <a:xfrm>
            <a:off x="4920594" y="2816547"/>
            <a:ext cx="4626869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50" b="1">
                <a:solidFill>
                  <a:srgbClr val="003157"/>
                </a:solidFill>
                <a:latin typeface="Montserrat" panose="00000500000000000000" pitchFamily="2" charset="0"/>
              </a:rPr>
              <a:t>Out of Pocket Expenditure</a:t>
            </a:r>
            <a:r>
              <a:rPr lang="en-US" sz="1050" b="1" baseline="30000">
                <a:solidFill>
                  <a:srgbClr val="003157"/>
                </a:solidFill>
                <a:latin typeface="Montserrat" panose="00000500000000000000" pitchFamily="2" charset="0"/>
              </a:rPr>
              <a:t>3</a:t>
            </a:r>
            <a:r>
              <a:rPr lang="en-US" sz="1050" b="1">
                <a:solidFill>
                  <a:srgbClr val="003157"/>
                </a:solidFill>
                <a:latin typeface="Montserrat" panose="00000500000000000000" pitchFamily="2" charset="0"/>
              </a:rPr>
              <a:t> </a:t>
            </a:r>
            <a:r>
              <a:rPr kumimoji="0" lang="it-IT" sz="1000" b="1" u="none" strike="noStrike" kern="0" cap="none" spc="0" normalizeH="0" noProof="0">
                <a:ln>
                  <a:noFill/>
                </a:ln>
                <a:solidFill>
                  <a:srgbClr val="003157"/>
                </a:solidFill>
                <a:effectLst/>
                <a:uLnTx/>
                <a:uFillTx/>
                <a:latin typeface="Montserrat" panose="00000500000000000000" pitchFamily="2" charset="0"/>
                <a:ea typeface="Arial Unicode MS" pitchFamily="34" charset="-128"/>
              </a:rPr>
              <a:t>| </a:t>
            </a:r>
            <a:r>
              <a:rPr kumimoji="0" lang="it-IT" sz="700" i="1" u="none" strike="noStrike" kern="0" cap="none" spc="0" normalizeH="0" noProof="0">
                <a:ln>
                  <a:noFill/>
                </a:ln>
                <a:solidFill>
                  <a:srgbClr val="003157"/>
                </a:solidFill>
                <a:effectLst/>
                <a:uLnTx/>
                <a:uFillTx/>
                <a:latin typeface="Montserrat" panose="00000500000000000000" pitchFamily="2" charset="0"/>
                <a:ea typeface="Arial Unicode MS" pitchFamily="34" charset="-128"/>
              </a:rPr>
              <a:t>% of Total Current Expenditure 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B74391D-37D7-49B7-85F9-9CF9C3517A96}"/>
              </a:ext>
            </a:extLst>
          </p:cNvPr>
          <p:cNvGrpSpPr/>
          <p:nvPr/>
        </p:nvGrpSpPr>
        <p:grpSpPr>
          <a:xfrm>
            <a:off x="4111208" y="3176912"/>
            <a:ext cx="5565818" cy="635127"/>
            <a:chOff x="5748259" y="3096947"/>
            <a:chExt cx="5565818" cy="635127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16B7714-5CE9-49AB-832D-75ACFFED3CBE}"/>
                </a:ext>
              </a:extLst>
            </p:cNvPr>
            <p:cNvGrpSpPr/>
            <p:nvPr/>
          </p:nvGrpSpPr>
          <p:grpSpPr>
            <a:xfrm>
              <a:off x="5748259" y="3096947"/>
              <a:ext cx="3210269" cy="635127"/>
              <a:chOff x="5748259" y="3031934"/>
              <a:chExt cx="3210269" cy="635127"/>
            </a:xfrm>
          </p:grpSpPr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8BE260FF-4841-4943-89DF-1E460EAD4547}"/>
                  </a:ext>
                </a:extLst>
              </p:cNvPr>
              <p:cNvSpPr txBox="1"/>
              <p:nvPr/>
            </p:nvSpPr>
            <p:spPr>
              <a:xfrm>
                <a:off x="5748259" y="3088276"/>
                <a:ext cx="1542612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r"/>
                <a:r>
                  <a:rPr lang="en-US" sz="1200" b="1" kern="0">
                    <a:solidFill>
                      <a:srgbClr val="002F54"/>
                    </a:solidFill>
                    <a:latin typeface="Montserrat" panose="00000500000000000000" pitchFamily="2" charset="0"/>
                    <a:cs typeface="Segoe UI" panose="020B0502040204020203" pitchFamily="34" charset="0"/>
                  </a:rPr>
                  <a:t>Low</a:t>
                </a:r>
              </a:p>
              <a:p>
                <a:pPr algn="r"/>
                <a:r>
                  <a:rPr lang="en-US" sz="1200" b="1" kern="0">
                    <a:solidFill>
                      <a:srgbClr val="002F54"/>
                    </a:solidFill>
                    <a:latin typeface="Montserrat" panose="00000500000000000000" pitchFamily="2" charset="0"/>
                    <a:cs typeface="Segoe UI" panose="020B0502040204020203" pitchFamily="34" charset="0"/>
                  </a:rPr>
                  <a:t>income:</a:t>
                </a: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EFBB493E-7F51-4449-A001-787CBF08E420}"/>
                  </a:ext>
                </a:extLst>
              </p:cNvPr>
              <p:cNvGrpSpPr/>
              <p:nvPr/>
            </p:nvGrpSpPr>
            <p:grpSpPr>
              <a:xfrm>
                <a:off x="6768712" y="3031934"/>
                <a:ext cx="2189816" cy="635127"/>
                <a:chOff x="6768712" y="3031934"/>
                <a:chExt cx="2189816" cy="635127"/>
              </a:xfrm>
            </p:grpSpPr>
            <p:sp>
              <p:nvSpPr>
                <p:cNvPr id="81" name="TextBox 80">
                  <a:extLst>
                    <a:ext uri="{FF2B5EF4-FFF2-40B4-BE49-F238E27FC236}">
                      <a16:creationId xmlns:a16="http://schemas.microsoft.com/office/drawing/2014/main" id="{B78A5619-938F-4E1E-A070-CA409D1EA0B5}"/>
                    </a:ext>
                  </a:extLst>
                </p:cNvPr>
                <p:cNvSpPr txBox="1"/>
                <p:nvPr/>
              </p:nvSpPr>
              <p:spPr>
                <a:xfrm>
                  <a:off x="6768712" y="3031934"/>
                  <a:ext cx="2189816" cy="58477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2000" kern="0">
                      <a:solidFill>
                        <a:srgbClr val="002F54"/>
                      </a:solidFill>
                      <a:latin typeface="Montserrat" panose="00000500000000000000" pitchFamily="2" charset="0"/>
                      <a:cs typeface="Segoe UI" panose="020B0502040204020203" pitchFamily="34" charset="0"/>
                    </a:rPr>
                    <a:t> </a:t>
                  </a:r>
                  <a:r>
                    <a:rPr lang="en-US" sz="3200" b="1" kern="0">
                      <a:solidFill>
                        <a:srgbClr val="00B0F0"/>
                      </a:solidFill>
                      <a:latin typeface="Montserrat" panose="00000500000000000000" pitchFamily="2" charset="0"/>
                      <a:cs typeface="Segoe UI" panose="020B0502040204020203" pitchFamily="34" charset="0"/>
                    </a:rPr>
                    <a:t>43.4%</a:t>
                  </a:r>
                  <a:endParaRPr lang="pt-BR" sz="3200" b="1">
                    <a:solidFill>
                      <a:srgbClr val="00B0F0"/>
                    </a:solidFill>
                  </a:endParaRPr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90B659E4-4C3D-4909-B786-50E2A0299951}"/>
                    </a:ext>
                  </a:extLst>
                </p:cNvPr>
                <p:cNvSpPr txBox="1"/>
                <p:nvPr/>
              </p:nvSpPr>
              <p:spPr>
                <a:xfrm>
                  <a:off x="7092314" y="3451617"/>
                  <a:ext cx="1542612" cy="21544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800" i="1" kern="0">
                      <a:solidFill>
                        <a:srgbClr val="002F54"/>
                      </a:solidFill>
                      <a:latin typeface="Montserrat" panose="00000500000000000000" pitchFamily="2" charset="0"/>
                      <a:cs typeface="Segoe UI" panose="020B0502040204020203" pitchFamily="34" charset="0"/>
                    </a:rPr>
                    <a:t>In 2018</a:t>
                  </a:r>
                </a:p>
              </p:txBody>
            </p:sp>
          </p:grp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51A2CAD-E363-4372-ADBF-A6CD78252003}"/>
                </a:ext>
              </a:extLst>
            </p:cNvPr>
            <p:cNvGrpSpPr/>
            <p:nvPr/>
          </p:nvGrpSpPr>
          <p:grpSpPr>
            <a:xfrm>
              <a:off x="8336996" y="3096947"/>
              <a:ext cx="2977081" cy="635127"/>
              <a:chOff x="5071270" y="3031934"/>
              <a:chExt cx="2977081" cy="635127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DDA270F3-CCA5-4487-91D7-816B9E6F7AA2}"/>
                  </a:ext>
                </a:extLst>
              </p:cNvPr>
              <p:cNvSpPr txBox="1"/>
              <p:nvPr/>
            </p:nvSpPr>
            <p:spPr>
              <a:xfrm>
                <a:off x="5071270" y="3088276"/>
                <a:ext cx="1542612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r"/>
                <a:r>
                  <a:rPr lang="en-US" sz="1200" b="1" kern="0">
                    <a:solidFill>
                      <a:srgbClr val="002F54"/>
                    </a:solidFill>
                    <a:latin typeface="Montserrat" panose="00000500000000000000" pitchFamily="2" charset="0"/>
                    <a:cs typeface="Segoe UI" panose="020B0502040204020203" pitchFamily="34" charset="0"/>
                  </a:rPr>
                  <a:t>Upper Middle Income:</a:t>
                </a:r>
              </a:p>
            </p:txBody>
          </p: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8E9CD981-AAA4-4EF5-8110-7B44836E2420}"/>
                  </a:ext>
                </a:extLst>
              </p:cNvPr>
              <p:cNvGrpSpPr/>
              <p:nvPr/>
            </p:nvGrpSpPr>
            <p:grpSpPr>
              <a:xfrm>
                <a:off x="6315220" y="3031934"/>
                <a:ext cx="1733131" cy="635127"/>
                <a:chOff x="6315220" y="3031934"/>
                <a:chExt cx="1733131" cy="635127"/>
              </a:xfrm>
            </p:grpSpPr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600EDA60-A0BF-47BC-BCB6-6499F0244E44}"/>
                    </a:ext>
                  </a:extLst>
                </p:cNvPr>
                <p:cNvSpPr txBox="1"/>
                <p:nvPr/>
              </p:nvSpPr>
              <p:spPr>
                <a:xfrm>
                  <a:off x="6315220" y="3031934"/>
                  <a:ext cx="1733131" cy="58477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2000" kern="0">
                      <a:solidFill>
                        <a:srgbClr val="002F54"/>
                      </a:solidFill>
                      <a:latin typeface="Montserrat" panose="00000500000000000000" pitchFamily="2" charset="0"/>
                      <a:cs typeface="Segoe UI" panose="020B0502040204020203" pitchFamily="34" charset="0"/>
                    </a:rPr>
                    <a:t> </a:t>
                  </a:r>
                  <a:r>
                    <a:rPr lang="en-US" sz="3200" b="1" kern="0">
                      <a:solidFill>
                        <a:srgbClr val="00B0F0"/>
                      </a:solidFill>
                      <a:latin typeface="Montserrat" panose="00000500000000000000" pitchFamily="2" charset="0"/>
                      <a:cs typeface="Segoe UI" panose="020B0502040204020203" pitchFamily="34" charset="0"/>
                    </a:rPr>
                    <a:t>32.9%</a:t>
                  </a:r>
                  <a:endParaRPr lang="pt-BR" sz="3200" b="1">
                    <a:solidFill>
                      <a:srgbClr val="00B0F0"/>
                    </a:solidFill>
                  </a:endParaRP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B60D033A-9776-434F-A9AD-29E6945FD9CF}"/>
                    </a:ext>
                  </a:extLst>
                </p:cNvPr>
                <p:cNvSpPr txBox="1"/>
                <p:nvPr/>
              </p:nvSpPr>
              <p:spPr>
                <a:xfrm>
                  <a:off x="6464783" y="3451617"/>
                  <a:ext cx="1542612" cy="21544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800" i="1" kern="0">
                      <a:solidFill>
                        <a:srgbClr val="002F54"/>
                      </a:solidFill>
                      <a:latin typeface="Montserrat" panose="00000500000000000000" pitchFamily="2" charset="0"/>
                      <a:cs typeface="Segoe UI" panose="020B0502040204020203" pitchFamily="34" charset="0"/>
                    </a:rPr>
                    <a:t>In 2018</a:t>
                  </a:r>
                </a:p>
              </p:txBody>
            </p:sp>
          </p:grpSp>
        </p:grp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252D6A68-3723-413E-A180-88A6C78BC8B8}"/>
              </a:ext>
            </a:extLst>
          </p:cNvPr>
          <p:cNvSpPr txBox="1"/>
          <p:nvPr/>
        </p:nvSpPr>
        <p:spPr>
          <a:xfrm>
            <a:off x="8281473" y="386064"/>
            <a:ext cx="2383510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rgbClr val="002F54"/>
                </a:solidFill>
                <a:latin typeface="Montserrat" panose="00000500000000000000" pitchFamily="2" charset="0"/>
              </a:rPr>
              <a:t>Health Infrastructure</a:t>
            </a:r>
            <a:r>
              <a:rPr kumimoji="0" lang="en-US" sz="1000" b="1" u="none" strike="noStrike" kern="0" cap="none" spc="0" normalizeH="0" baseline="30000" noProof="0">
                <a:ln>
                  <a:noFill/>
                </a:ln>
                <a:solidFill>
                  <a:srgbClr val="002F54"/>
                </a:solidFill>
                <a:effectLst/>
                <a:uLnTx/>
                <a:uFillTx/>
                <a:latin typeface="Montserrat" panose="00000500000000000000" pitchFamily="2" charset="0"/>
                <a:ea typeface="Arial Unicode MS" pitchFamily="34" charset="-128"/>
              </a:rPr>
              <a:t>1                                                                 </a:t>
            </a:r>
            <a:r>
              <a:rPr kumimoji="0" lang="it-IT" sz="600" i="1" u="none" strike="noStrike" kern="0" cap="none" spc="0" normalizeH="0" noProof="0">
                <a:ln>
                  <a:noFill/>
                </a:ln>
                <a:solidFill>
                  <a:srgbClr val="002F54"/>
                </a:solidFill>
                <a:effectLst/>
                <a:uLnTx/>
                <a:uFillTx/>
                <a:latin typeface="Montserrat" panose="00000500000000000000" pitchFamily="2" charset="0"/>
                <a:ea typeface="Arial Unicode MS" pitchFamily="34" charset="-128"/>
              </a:rPr>
              <a:t>Bubble Size = GDP per Capita (in millions)</a:t>
            </a:r>
            <a:endParaRPr kumimoji="0" lang="it-IT" sz="1000" i="1" u="none" strike="noStrike" kern="0" cap="none" spc="0" normalizeH="0" noProof="0">
              <a:ln>
                <a:noFill/>
              </a:ln>
              <a:solidFill>
                <a:srgbClr val="002F54"/>
              </a:solidFill>
              <a:effectLst/>
              <a:uLnTx/>
              <a:uFillTx/>
              <a:latin typeface="Montserrat" panose="00000500000000000000" pitchFamily="2" charset="0"/>
              <a:ea typeface="Arial Unicode MS" pitchFamily="34" charset="-128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025756A-6ABA-4297-9143-58B83B19BA6A}"/>
              </a:ext>
            </a:extLst>
          </p:cNvPr>
          <p:cNvSpPr txBox="1"/>
          <p:nvPr/>
        </p:nvSpPr>
        <p:spPr>
          <a:xfrm>
            <a:off x="8066034" y="4161821"/>
            <a:ext cx="2676662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rgbClr val="002F54"/>
                </a:solidFill>
                <a:latin typeface="Montserrat" panose="00000500000000000000" pitchFamily="2" charset="0"/>
              </a:rPr>
              <a:t>Health Access and Quality Indicator</a:t>
            </a:r>
            <a:r>
              <a:rPr lang="en-US" sz="1000" b="1" baseline="30000">
                <a:solidFill>
                  <a:srgbClr val="002F54"/>
                </a:solidFill>
                <a:latin typeface="Montserrat" panose="00000500000000000000" pitchFamily="2" charset="0"/>
              </a:rPr>
              <a:t>2</a:t>
            </a:r>
            <a:r>
              <a:rPr kumimoji="0" lang="it-IT" sz="900" b="1" u="none" strike="noStrike" kern="0" cap="none" spc="0" normalizeH="0" noProof="0">
                <a:ln>
                  <a:noFill/>
                </a:ln>
                <a:solidFill>
                  <a:srgbClr val="002F54"/>
                </a:solidFill>
                <a:effectLst/>
                <a:uLnTx/>
                <a:uFillTx/>
                <a:latin typeface="Montserrat" panose="00000500000000000000" pitchFamily="2" charset="0"/>
                <a:ea typeface="Arial Unicode MS" pitchFamily="34" charset="-128"/>
              </a:rPr>
              <a:t>                                                     </a:t>
            </a:r>
            <a:r>
              <a:rPr kumimoji="0" lang="en-US" sz="600" i="1" u="none" strike="noStrike" kern="0" cap="none" spc="0" normalizeH="0" noProof="0">
                <a:ln>
                  <a:noFill/>
                </a:ln>
                <a:solidFill>
                  <a:srgbClr val="002F54"/>
                </a:solidFill>
                <a:effectLst/>
                <a:uLnTx/>
                <a:uFillTx/>
                <a:latin typeface="Montserrat" panose="00000500000000000000" pitchFamily="2" charset="0"/>
                <a:ea typeface="Arial Unicode MS" pitchFamily="34" charset="-128"/>
              </a:rPr>
              <a:t>Index (0=low to 100=high) 1990-2015</a:t>
            </a:r>
          </a:p>
        </p:txBody>
      </p: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AAD58745-E104-45FB-A3EB-2DB7F0FBB6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0830208"/>
              </p:ext>
            </p:extLst>
          </p:nvPr>
        </p:nvGraphicFramePr>
        <p:xfrm>
          <a:off x="6423660" y="4377665"/>
          <a:ext cx="7682268" cy="2254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6" name="Rectangle 85">
            <a:extLst>
              <a:ext uri="{FF2B5EF4-FFF2-40B4-BE49-F238E27FC236}">
                <a16:creationId xmlns:a16="http://schemas.microsoft.com/office/drawing/2014/main" id="{DC206AD4-CEEA-48C2-8852-6F180E29CAC0}"/>
              </a:ext>
            </a:extLst>
          </p:cNvPr>
          <p:cNvSpPr/>
          <p:nvPr/>
        </p:nvSpPr>
        <p:spPr>
          <a:xfrm>
            <a:off x="7786976" y="1547090"/>
            <a:ext cx="1738023" cy="586911"/>
          </a:xfrm>
          <a:prstGeom prst="rect">
            <a:avLst/>
          </a:prstGeom>
          <a:solidFill>
            <a:srgbClr val="C00000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545492C-52B4-497C-B1AF-9E7FABBDB07A}"/>
              </a:ext>
            </a:extLst>
          </p:cNvPr>
          <p:cNvSpPr txBox="1"/>
          <p:nvPr/>
        </p:nvSpPr>
        <p:spPr>
          <a:xfrm>
            <a:off x="9495191" y="1349871"/>
            <a:ext cx="66798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" b="1" i="1" kern="0">
                <a:solidFill>
                  <a:srgbClr val="00B0F0"/>
                </a:solidFill>
                <a:latin typeface="Montserrat" panose="00000500000000000000" pitchFamily="2" charset="0"/>
                <a:cs typeface="Segoe UI" panose="020B0502040204020203" pitchFamily="34" charset="0"/>
              </a:rPr>
              <a:t>WHO Recommendation</a:t>
            </a:r>
            <a:endParaRPr lang="pt-BR" sz="700" b="1" i="1">
              <a:solidFill>
                <a:srgbClr val="00B0F0"/>
              </a:solidFill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7938436D-73C4-4847-93DA-66CB1108A73F}"/>
              </a:ext>
            </a:extLst>
          </p:cNvPr>
          <p:cNvSpPr/>
          <p:nvPr/>
        </p:nvSpPr>
        <p:spPr>
          <a:xfrm>
            <a:off x="4707104" y="4584913"/>
            <a:ext cx="2021685" cy="1097280"/>
          </a:xfrm>
          <a:prstGeom prst="roundRect">
            <a:avLst>
              <a:gd name="adj" fmla="val 4515"/>
            </a:avLst>
          </a:prstGeom>
          <a:solidFill>
            <a:srgbClr val="002F54"/>
          </a:solidFill>
          <a:ln w="12700" cap="flat" cmpd="sng" algn="ctr">
            <a:noFill/>
            <a:prstDash val="solid"/>
            <a:miter lim="800000"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/>
            <a:r>
              <a:rPr lang="en-US" sz="900">
                <a:solidFill>
                  <a:schemeClr val="bg1"/>
                </a:solidFill>
                <a:latin typeface="Montserrat"/>
                <a:ea typeface="+mn-lt"/>
                <a:cs typeface="+mn-lt"/>
              </a:rPr>
              <a:t>Once families in emerging markets seek out care, it is still substandard compared to those</a:t>
            </a:r>
            <a:endParaRPr lang="en-US">
              <a:solidFill>
                <a:schemeClr val="bg1"/>
              </a:solidFill>
              <a:latin typeface="Montserrat"/>
              <a:ea typeface="+mn-lt"/>
              <a:cs typeface="+mn-lt"/>
            </a:endParaRPr>
          </a:p>
          <a:p>
            <a:pPr algn="ctr"/>
            <a:r>
              <a:rPr lang="en-US" sz="900">
                <a:solidFill>
                  <a:schemeClr val="bg1"/>
                </a:solidFill>
                <a:latin typeface="Montserrat"/>
                <a:ea typeface="+mn-lt"/>
                <a:cs typeface="+mn-lt"/>
              </a:rPr>
              <a:t>in high income countries.</a:t>
            </a:r>
            <a:endParaRPr lang="en-US">
              <a:solidFill>
                <a:schemeClr val="bg1"/>
              </a:solidFill>
              <a:latin typeface="Montserrat"/>
              <a:ea typeface="+mn-lt"/>
              <a:cs typeface="+mn-lt"/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CB2E10C9-CBC7-412F-A4C7-B38B19E268CA}"/>
              </a:ext>
            </a:extLst>
          </p:cNvPr>
          <p:cNvSpPr/>
          <p:nvPr/>
        </p:nvSpPr>
        <p:spPr>
          <a:xfrm>
            <a:off x="9752017" y="2819133"/>
            <a:ext cx="2021685" cy="1097280"/>
          </a:xfrm>
          <a:prstGeom prst="roundRect">
            <a:avLst>
              <a:gd name="adj" fmla="val 4515"/>
            </a:avLst>
          </a:prstGeom>
          <a:solidFill>
            <a:srgbClr val="002F54"/>
          </a:solidFill>
          <a:ln w="12700" cap="flat" cmpd="sng" algn="ctr">
            <a:noFill/>
            <a:prstDash val="solid"/>
            <a:miter lim="800000"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/>
            <a:r>
              <a:rPr lang="en-US" sz="900">
                <a:solidFill>
                  <a:schemeClr val="bg1"/>
                </a:solidFill>
                <a:latin typeface="Montserrat"/>
                <a:ea typeface="+mn-lt"/>
                <a:cs typeface="+mn-lt"/>
              </a:rPr>
              <a:t>In low-income countries,</a:t>
            </a:r>
            <a:endParaRPr lang="en-US">
              <a:solidFill>
                <a:schemeClr val="bg1"/>
              </a:solidFill>
              <a:latin typeface="Montserrat"/>
              <a:ea typeface="+mn-lt"/>
              <a:cs typeface="+mn-lt"/>
            </a:endParaRPr>
          </a:p>
          <a:p>
            <a:pPr algn="ctr"/>
            <a:r>
              <a:rPr lang="en-US" sz="900">
                <a:solidFill>
                  <a:schemeClr val="bg1"/>
                </a:solidFill>
                <a:latin typeface="Montserrat"/>
                <a:ea typeface="+mn-lt"/>
                <a:cs typeface="+mn-lt"/>
              </a:rPr>
              <a:t>families must pay the highest share of healthcare costs. </a:t>
            </a:r>
            <a:endParaRPr lang="en-US">
              <a:solidFill>
                <a:schemeClr val="bg1"/>
              </a:solidFill>
              <a:latin typeface="Montserrat"/>
              <a:ea typeface="+mn-lt"/>
              <a:cs typeface="+mn-lt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24BC5B0F-C884-4CDC-9613-EE76F0F46132}"/>
              </a:ext>
            </a:extLst>
          </p:cNvPr>
          <p:cNvSpPr/>
          <p:nvPr/>
        </p:nvSpPr>
        <p:spPr>
          <a:xfrm>
            <a:off x="4707104" y="735424"/>
            <a:ext cx="2021685" cy="1400348"/>
          </a:xfrm>
          <a:prstGeom prst="roundRect">
            <a:avLst>
              <a:gd name="adj" fmla="val 4515"/>
            </a:avLst>
          </a:prstGeom>
          <a:solidFill>
            <a:srgbClr val="002F54"/>
          </a:solidFill>
          <a:ln w="12700" cap="flat" cmpd="sng" algn="ctr">
            <a:noFill/>
            <a:prstDash val="solid"/>
            <a:miter lim="800000"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algn="ctr"/>
            <a:r>
              <a:rPr lang="en-US" sz="900">
                <a:solidFill>
                  <a:schemeClr val="bg1"/>
                </a:solidFill>
                <a:latin typeface="Montserrat"/>
                <a:ea typeface="+mn-lt"/>
                <a:cs typeface="+mn-lt"/>
              </a:rPr>
              <a:t>In almost all emerging markets regions health infrastructure is</a:t>
            </a:r>
            <a:endParaRPr lang="en-US">
              <a:solidFill>
                <a:schemeClr val="bg1"/>
              </a:solidFill>
              <a:latin typeface="Montserrat"/>
              <a:ea typeface="+mn-lt"/>
              <a:cs typeface="+mn-lt"/>
            </a:endParaRPr>
          </a:p>
          <a:p>
            <a:pPr algn="ctr"/>
            <a:r>
              <a:rPr lang="en-US" sz="900">
                <a:solidFill>
                  <a:schemeClr val="bg1"/>
                </a:solidFill>
                <a:latin typeface="Montserrat"/>
                <a:ea typeface="+mn-lt"/>
                <a:cs typeface="+mn-lt"/>
              </a:rPr>
              <a:t>still lacking compared to the</a:t>
            </a:r>
            <a:endParaRPr lang="en-US">
              <a:solidFill>
                <a:schemeClr val="bg1"/>
              </a:solidFill>
              <a:latin typeface="Montserrat"/>
              <a:ea typeface="+mn-lt"/>
              <a:cs typeface="+mn-lt"/>
            </a:endParaRPr>
          </a:p>
          <a:p>
            <a:pPr algn="ctr"/>
            <a:r>
              <a:rPr lang="en-US" sz="900">
                <a:solidFill>
                  <a:schemeClr val="bg1"/>
                </a:solidFill>
                <a:latin typeface="Montserrat"/>
                <a:ea typeface="+mn-lt"/>
                <a:cs typeface="+mn-lt"/>
              </a:rPr>
              <a:t>WHO recommendations,</a:t>
            </a:r>
            <a:endParaRPr lang="en-US">
              <a:solidFill>
                <a:schemeClr val="bg1"/>
              </a:solidFill>
              <a:latin typeface="Montserrat"/>
              <a:ea typeface="+mn-lt"/>
              <a:cs typeface="+mn-lt"/>
            </a:endParaRPr>
          </a:p>
          <a:p>
            <a:pPr algn="ctr"/>
            <a:r>
              <a:rPr lang="en-US" sz="900">
                <a:solidFill>
                  <a:schemeClr val="bg1"/>
                </a:solidFill>
                <a:latin typeface="Montserrat"/>
                <a:ea typeface="+mn-lt"/>
                <a:cs typeface="+mn-lt"/>
              </a:rPr>
              <a:t>for many of these regions this</a:t>
            </a:r>
            <a:endParaRPr lang="en-US">
              <a:solidFill>
                <a:schemeClr val="bg1"/>
              </a:solidFill>
              <a:latin typeface="Montserrat"/>
              <a:ea typeface="+mn-lt"/>
              <a:cs typeface="+mn-lt"/>
            </a:endParaRPr>
          </a:p>
          <a:p>
            <a:pPr algn="ctr"/>
            <a:r>
              <a:rPr lang="en-US" sz="900">
                <a:solidFill>
                  <a:schemeClr val="bg1"/>
                </a:solidFill>
                <a:latin typeface="Montserrat"/>
                <a:ea typeface="+mn-lt"/>
                <a:cs typeface="+mn-lt"/>
              </a:rPr>
              <a:t>is for both capital and human resources.</a:t>
            </a:r>
            <a:endParaRPr lang="en-US">
              <a:solidFill>
                <a:schemeClr val="bg1"/>
              </a:solidFill>
              <a:latin typeface="Montserrat"/>
              <a:ea typeface="+mn-lt"/>
              <a:cs typeface="+mn-lt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A6074078-D27C-4F4F-8FA4-C659BA92A4D3}"/>
              </a:ext>
            </a:extLst>
          </p:cNvPr>
          <p:cNvCxnSpPr>
            <a:cxnSpLocks/>
          </p:cNvCxnSpPr>
          <p:nvPr/>
        </p:nvCxnSpPr>
        <p:spPr>
          <a:xfrm flipH="1">
            <a:off x="9523571" y="1006230"/>
            <a:ext cx="7905" cy="111554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4CFBDAEF-BD5F-4DF3-8EDB-572C39343B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7200104"/>
              </p:ext>
            </p:extLst>
          </p:nvPr>
        </p:nvGraphicFramePr>
        <p:xfrm>
          <a:off x="7215188" y="629711"/>
          <a:ext cx="3892560" cy="1963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53013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Arrow: Left-Right 66">
            <a:extLst>
              <a:ext uri="{FF2B5EF4-FFF2-40B4-BE49-F238E27FC236}">
                <a16:creationId xmlns:a16="http://schemas.microsoft.com/office/drawing/2014/main" id="{D8F2D87B-5565-435F-8D34-87DDD44C3303}"/>
              </a:ext>
            </a:extLst>
          </p:cNvPr>
          <p:cNvSpPr/>
          <p:nvPr/>
        </p:nvSpPr>
        <p:spPr>
          <a:xfrm>
            <a:off x="2025154" y="6248400"/>
            <a:ext cx="8141691" cy="190298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002F54"/>
                </a:solidFill>
                <a:effectLst/>
                <a:uLnTx/>
                <a:uFillTx/>
                <a:latin typeface="Montserrat" panose="00000500000000000000" pitchFamily="2" charset="0"/>
                <a:ea typeface="ＭＳ Ｐゴシック"/>
              </a:rPr>
              <a:t>Across the Health Spectrum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F8C0F38-BF01-448F-95D2-7E85388A9CDC}"/>
              </a:ext>
            </a:extLst>
          </p:cNvPr>
          <p:cNvSpPr/>
          <p:nvPr/>
        </p:nvSpPr>
        <p:spPr>
          <a:xfrm>
            <a:off x="832031" y="1425731"/>
            <a:ext cx="81576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5100"/>
              <a:buFontTx/>
              <a:buNone/>
              <a:tabLst/>
              <a:defRPr/>
            </a:pPr>
            <a:r>
              <a:rPr kumimoji="0" lang="en-US" altLang="en-US" sz="1400" b="1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cs typeface="Arial" panose="020B0604020202020204" pitchFamily="34" charset="0"/>
                <a:sym typeface="Arial" panose="020B0604020202020204" pitchFamily="34" charset="0"/>
              </a:rPr>
              <a:t>To achieve this, we have developed a portfolio-approach that incorporates…</a:t>
            </a: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993CB5C9-521D-40EB-B98F-3A2CF6B1092B}"/>
              </a:ext>
            </a:extLst>
          </p:cNvPr>
          <p:cNvSpPr txBox="1">
            <a:spLocks/>
          </p:cNvSpPr>
          <p:nvPr/>
        </p:nvSpPr>
        <p:spPr>
          <a:xfrm>
            <a:off x="1798161" y="393723"/>
            <a:ext cx="8595678" cy="45592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2700" b="1">
                <a:solidFill>
                  <a:schemeClr val="bg1"/>
                </a:solidFill>
                <a:latin typeface="Montserrat" panose="00000500000000000000" pitchFamily="2" charset="0"/>
              </a:rPr>
              <a:t>Healthcare</a:t>
            </a:r>
            <a: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</a:rPr>
              <a:t> Investment </a:t>
            </a:r>
            <a: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Montserrat" panose="00000500000000000000" pitchFamily="2" charset="0"/>
              </a:rPr>
              <a:t>Strategy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CF09DE22-57AC-4887-B386-982BAA503C75}"/>
              </a:ext>
            </a:extLst>
          </p:cNvPr>
          <p:cNvSpPr txBox="1">
            <a:spLocks/>
          </p:cNvSpPr>
          <p:nvPr/>
        </p:nvSpPr>
        <p:spPr>
          <a:xfrm>
            <a:off x="731519" y="850595"/>
            <a:ext cx="10728963" cy="4559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48056" rtl="0" eaLnBrk="1" latinLnBrk="0" hangingPunct="1">
              <a:spcBef>
                <a:spcPct val="20000"/>
              </a:spcBef>
              <a:buFont typeface="Arial"/>
              <a:buNone/>
              <a:defRPr sz="1400" b="0" kern="1200">
                <a:solidFill>
                  <a:schemeClr val="bg1">
                    <a:lumMod val="50000"/>
                  </a:schemeClr>
                </a:solidFill>
                <a:latin typeface="Arial Black Regular"/>
                <a:ea typeface="+mn-ea"/>
                <a:cs typeface="+mn-cs"/>
              </a:defRPr>
            </a:lvl1pPr>
            <a:lvl2pPr marL="0" indent="0" algn="l" defTabSz="448056" rtl="0" eaLnBrk="1" latinLnBrk="0" hangingPunct="1">
              <a:spcBef>
                <a:spcPct val="20000"/>
              </a:spcBef>
              <a:buFont typeface="Arial"/>
              <a:buNone/>
              <a:defRPr sz="1200" b="1" kern="1200" baseline="0">
                <a:solidFill>
                  <a:schemeClr val="bg2"/>
                </a:solidFill>
                <a:latin typeface="Arial Black Regular"/>
                <a:ea typeface="+mn-ea"/>
                <a:cs typeface="+mn-cs"/>
              </a:defRPr>
            </a:lvl2pPr>
            <a:lvl3pPr marL="0" indent="0" algn="l" defTabSz="448056" rtl="0" eaLnBrk="1" latinLnBrk="0" hangingPunct="1">
              <a:spcBef>
                <a:spcPct val="20000"/>
              </a:spcBef>
              <a:buFontTx/>
              <a:buNone/>
              <a:defRPr sz="1200" b="1" kern="1200" baseline="0">
                <a:solidFill>
                  <a:schemeClr val="accent5"/>
                </a:solidFill>
                <a:latin typeface="Arial Black Regular"/>
                <a:ea typeface="+mn-ea"/>
                <a:cs typeface="+mn-cs"/>
              </a:defRPr>
            </a:lvl3pPr>
            <a:lvl4pPr marL="384048" indent="-118872" algn="l" defTabSz="448056" rtl="0" eaLnBrk="1" latinLnBrk="0" hangingPunct="1">
              <a:spcBef>
                <a:spcPct val="20000"/>
              </a:spcBef>
              <a:buClrTx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Arial Black Regular"/>
                <a:ea typeface="+mn-ea"/>
                <a:cs typeface="+mn-cs"/>
              </a:defRPr>
            </a:lvl4pPr>
            <a:lvl5pPr marL="384048" indent="-118872" algn="l" defTabSz="448056" rtl="0" eaLnBrk="1" latinLnBrk="0" hangingPunct="1">
              <a:spcBef>
                <a:spcPct val="20000"/>
              </a:spcBef>
              <a:buClr>
                <a:schemeClr val="bg2"/>
              </a:buClr>
              <a:buSzPct val="80000"/>
              <a:buFont typeface="Courier New" panose="02070309020205020404" pitchFamily="49" charset="0"/>
              <a:buChar char="o"/>
              <a:defRPr lang="en-US" sz="1200" kern="1200" baseline="0" noProof="0">
                <a:solidFill>
                  <a:schemeClr val="tx1">
                    <a:lumMod val="50000"/>
                    <a:lumOff val="50000"/>
                  </a:schemeClr>
                </a:solidFill>
                <a:latin typeface="Arial Black Regular"/>
                <a:ea typeface="+mn-ea"/>
                <a:cs typeface="+mn-cs"/>
              </a:defRPr>
            </a:lvl5pPr>
            <a:lvl6pPr marL="640080" indent="-118872" algn="l" defTabSz="448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448056" rtl="0" eaLnBrk="1" latinLnBrk="0" hangingPunct="1">
              <a:spcBef>
                <a:spcPct val="20000"/>
              </a:spcBef>
              <a:buFont typeface="Arial"/>
              <a:buNone/>
              <a:defRPr sz="196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448056" rtl="0" eaLnBrk="1" latinLnBrk="0" hangingPunct="1">
              <a:spcBef>
                <a:spcPct val="20000"/>
              </a:spcBef>
              <a:buFont typeface="Arial"/>
              <a:buNone/>
              <a:defRPr sz="196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0" indent="0" algn="l" defTabSz="448056" rtl="0" eaLnBrk="1" latinLnBrk="0" hangingPunct="1">
              <a:spcBef>
                <a:spcPct val="20000"/>
              </a:spcBef>
              <a:buFont typeface="Arial"/>
              <a:buNone/>
              <a:defRPr sz="196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solidFill>
                  <a:schemeClr val="bg1"/>
                </a:solidFill>
                <a:latin typeface="Montserrat" panose="00000500000000000000" pitchFamily="2" charset="0"/>
              </a:rPr>
              <a:t>Objective: </a:t>
            </a:r>
            <a:r>
              <a:rPr lang="en-US">
                <a:solidFill>
                  <a:schemeClr val="bg1"/>
                </a:solidFill>
                <a:latin typeface="Montserrat" panose="00000500000000000000" pitchFamily="2" charset="0"/>
              </a:rPr>
              <a:t>Expand access to affordable, quality health products and services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2ADA4241-BE5F-434A-8002-0BF9E236C3AE}"/>
              </a:ext>
            </a:extLst>
          </p:cNvPr>
          <p:cNvCxnSpPr>
            <a:cxnSpLocks/>
          </p:cNvCxnSpPr>
          <p:nvPr/>
        </p:nvCxnSpPr>
        <p:spPr>
          <a:xfrm>
            <a:off x="2485779" y="2720897"/>
            <a:ext cx="0" cy="13099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bject 72">
            <a:extLst>
              <a:ext uri="{FF2B5EF4-FFF2-40B4-BE49-F238E27FC236}">
                <a16:creationId xmlns:a16="http://schemas.microsoft.com/office/drawing/2014/main" id="{CBC72469-4CEA-4715-98A3-E567D54A77B1}"/>
              </a:ext>
            </a:extLst>
          </p:cNvPr>
          <p:cNvSpPr/>
          <p:nvPr/>
        </p:nvSpPr>
        <p:spPr>
          <a:xfrm>
            <a:off x="3075751" y="2994311"/>
            <a:ext cx="700637" cy="714877"/>
          </a:xfrm>
          <a:custGeom>
            <a:avLst/>
            <a:gdLst/>
            <a:ahLst/>
            <a:cxnLst/>
            <a:rect l="l" t="t" r="r" b="b"/>
            <a:pathLst>
              <a:path w="1188720" h="1188720">
                <a:moveTo>
                  <a:pt x="0" y="594360"/>
                </a:moveTo>
                <a:lnTo>
                  <a:pt x="1970" y="545607"/>
                </a:lnTo>
                <a:lnTo>
                  <a:pt x="7778" y="497942"/>
                </a:lnTo>
                <a:lnTo>
                  <a:pt x="17271" y="451515"/>
                </a:lnTo>
                <a:lnTo>
                  <a:pt x="30297" y="406481"/>
                </a:lnTo>
                <a:lnTo>
                  <a:pt x="46702" y="362991"/>
                </a:lnTo>
                <a:lnTo>
                  <a:pt x="66334" y="321200"/>
                </a:lnTo>
                <a:lnTo>
                  <a:pt x="89039" y="281259"/>
                </a:lnTo>
                <a:lnTo>
                  <a:pt x="114665" y="243321"/>
                </a:lnTo>
                <a:lnTo>
                  <a:pt x="143060" y="207540"/>
                </a:lnTo>
                <a:lnTo>
                  <a:pt x="174069" y="174069"/>
                </a:lnTo>
                <a:lnTo>
                  <a:pt x="207540" y="143060"/>
                </a:lnTo>
                <a:lnTo>
                  <a:pt x="243321" y="114665"/>
                </a:lnTo>
                <a:lnTo>
                  <a:pt x="281259" y="89039"/>
                </a:lnTo>
                <a:lnTo>
                  <a:pt x="321200" y="66334"/>
                </a:lnTo>
                <a:lnTo>
                  <a:pt x="362991" y="46702"/>
                </a:lnTo>
                <a:lnTo>
                  <a:pt x="406481" y="30297"/>
                </a:lnTo>
                <a:lnTo>
                  <a:pt x="451515" y="17271"/>
                </a:lnTo>
                <a:lnTo>
                  <a:pt x="497942" y="7778"/>
                </a:lnTo>
                <a:lnTo>
                  <a:pt x="545607" y="1970"/>
                </a:lnTo>
                <a:lnTo>
                  <a:pt x="594360" y="0"/>
                </a:lnTo>
                <a:lnTo>
                  <a:pt x="643112" y="1970"/>
                </a:lnTo>
                <a:lnTo>
                  <a:pt x="690777" y="7778"/>
                </a:lnTo>
                <a:lnTo>
                  <a:pt x="737204" y="17271"/>
                </a:lnTo>
                <a:lnTo>
                  <a:pt x="782238" y="30297"/>
                </a:lnTo>
                <a:lnTo>
                  <a:pt x="825728" y="46702"/>
                </a:lnTo>
                <a:lnTo>
                  <a:pt x="867519" y="66334"/>
                </a:lnTo>
                <a:lnTo>
                  <a:pt x="907460" y="89039"/>
                </a:lnTo>
                <a:lnTo>
                  <a:pt x="945398" y="114665"/>
                </a:lnTo>
                <a:lnTo>
                  <a:pt x="981179" y="143060"/>
                </a:lnTo>
                <a:lnTo>
                  <a:pt x="1014650" y="174069"/>
                </a:lnTo>
                <a:lnTo>
                  <a:pt x="1045659" y="207540"/>
                </a:lnTo>
                <a:lnTo>
                  <a:pt x="1074054" y="243321"/>
                </a:lnTo>
                <a:lnTo>
                  <a:pt x="1099680" y="281259"/>
                </a:lnTo>
                <a:lnTo>
                  <a:pt x="1122385" y="321200"/>
                </a:lnTo>
                <a:lnTo>
                  <a:pt x="1142017" y="362991"/>
                </a:lnTo>
                <a:lnTo>
                  <a:pt x="1158422" y="406481"/>
                </a:lnTo>
                <a:lnTo>
                  <a:pt x="1171448" y="451515"/>
                </a:lnTo>
                <a:lnTo>
                  <a:pt x="1180941" y="497942"/>
                </a:lnTo>
                <a:lnTo>
                  <a:pt x="1186749" y="545607"/>
                </a:lnTo>
                <a:lnTo>
                  <a:pt x="1188719" y="594360"/>
                </a:lnTo>
                <a:lnTo>
                  <a:pt x="1186749" y="643112"/>
                </a:lnTo>
                <a:lnTo>
                  <a:pt x="1180941" y="690777"/>
                </a:lnTo>
                <a:lnTo>
                  <a:pt x="1171448" y="737204"/>
                </a:lnTo>
                <a:lnTo>
                  <a:pt x="1158422" y="782238"/>
                </a:lnTo>
                <a:lnTo>
                  <a:pt x="1142017" y="825728"/>
                </a:lnTo>
                <a:lnTo>
                  <a:pt x="1122385" y="867519"/>
                </a:lnTo>
                <a:lnTo>
                  <a:pt x="1099680" y="907460"/>
                </a:lnTo>
                <a:lnTo>
                  <a:pt x="1074054" y="945398"/>
                </a:lnTo>
                <a:lnTo>
                  <a:pt x="1045659" y="981179"/>
                </a:lnTo>
                <a:lnTo>
                  <a:pt x="1014650" y="1014650"/>
                </a:lnTo>
                <a:lnTo>
                  <a:pt x="981179" y="1045659"/>
                </a:lnTo>
                <a:lnTo>
                  <a:pt x="945398" y="1074054"/>
                </a:lnTo>
                <a:lnTo>
                  <a:pt x="907460" y="1099680"/>
                </a:lnTo>
                <a:lnTo>
                  <a:pt x="867519" y="1122385"/>
                </a:lnTo>
                <a:lnTo>
                  <a:pt x="825728" y="1142017"/>
                </a:lnTo>
                <a:lnTo>
                  <a:pt x="782238" y="1158422"/>
                </a:lnTo>
                <a:lnTo>
                  <a:pt x="737204" y="1171448"/>
                </a:lnTo>
                <a:lnTo>
                  <a:pt x="690777" y="1180941"/>
                </a:lnTo>
                <a:lnTo>
                  <a:pt x="643112" y="1186749"/>
                </a:lnTo>
                <a:lnTo>
                  <a:pt x="594360" y="1188720"/>
                </a:lnTo>
                <a:lnTo>
                  <a:pt x="545607" y="1186749"/>
                </a:lnTo>
                <a:lnTo>
                  <a:pt x="497942" y="1180941"/>
                </a:lnTo>
                <a:lnTo>
                  <a:pt x="451515" y="1171448"/>
                </a:lnTo>
                <a:lnTo>
                  <a:pt x="406481" y="1158422"/>
                </a:lnTo>
                <a:lnTo>
                  <a:pt x="362991" y="1142017"/>
                </a:lnTo>
                <a:lnTo>
                  <a:pt x="321200" y="1122385"/>
                </a:lnTo>
                <a:lnTo>
                  <a:pt x="281259" y="1099680"/>
                </a:lnTo>
                <a:lnTo>
                  <a:pt x="243321" y="1074054"/>
                </a:lnTo>
                <a:lnTo>
                  <a:pt x="207540" y="1045659"/>
                </a:lnTo>
                <a:lnTo>
                  <a:pt x="174069" y="1014650"/>
                </a:lnTo>
                <a:lnTo>
                  <a:pt x="143060" y="981179"/>
                </a:lnTo>
                <a:lnTo>
                  <a:pt x="114665" y="945398"/>
                </a:lnTo>
                <a:lnTo>
                  <a:pt x="89039" y="907460"/>
                </a:lnTo>
                <a:lnTo>
                  <a:pt x="66334" y="867519"/>
                </a:lnTo>
                <a:lnTo>
                  <a:pt x="46702" y="825728"/>
                </a:lnTo>
                <a:lnTo>
                  <a:pt x="30297" y="782238"/>
                </a:lnTo>
                <a:lnTo>
                  <a:pt x="17271" y="737204"/>
                </a:lnTo>
                <a:lnTo>
                  <a:pt x="7778" y="690777"/>
                </a:lnTo>
                <a:lnTo>
                  <a:pt x="1970" y="643112"/>
                </a:lnTo>
                <a:lnTo>
                  <a:pt x="0" y="594360"/>
                </a:lnTo>
                <a:close/>
              </a:path>
            </a:pathLst>
          </a:custGeom>
          <a:ln w="9144"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ＭＳ Ｐゴシック"/>
            </a:endParaRPr>
          </a:p>
        </p:txBody>
      </p:sp>
      <p:sp>
        <p:nvSpPr>
          <p:cNvPr id="97" name="object 71">
            <a:extLst>
              <a:ext uri="{FF2B5EF4-FFF2-40B4-BE49-F238E27FC236}">
                <a16:creationId xmlns:a16="http://schemas.microsoft.com/office/drawing/2014/main" id="{5956E7E8-3D42-47D1-A718-728FFB64E38F}"/>
              </a:ext>
            </a:extLst>
          </p:cNvPr>
          <p:cNvSpPr/>
          <p:nvPr/>
        </p:nvSpPr>
        <p:spPr>
          <a:xfrm>
            <a:off x="2147923" y="3043215"/>
            <a:ext cx="700637" cy="714877"/>
          </a:xfrm>
          <a:custGeom>
            <a:avLst/>
            <a:gdLst/>
            <a:ahLst/>
            <a:cxnLst/>
            <a:rect l="l" t="t" r="r" b="b"/>
            <a:pathLst>
              <a:path w="1188720" h="1188720">
                <a:moveTo>
                  <a:pt x="594360" y="0"/>
                </a:moveTo>
                <a:lnTo>
                  <a:pt x="545607" y="1970"/>
                </a:lnTo>
                <a:lnTo>
                  <a:pt x="497942" y="7778"/>
                </a:lnTo>
                <a:lnTo>
                  <a:pt x="451515" y="17271"/>
                </a:lnTo>
                <a:lnTo>
                  <a:pt x="406481" y="30297"/>
                </a:lnTo>
                <a:lnTo>
                  <a:pt x="362991" y="46702"/>
                </a:lnTo>
                <a:lnTo>
                  <a:pt x="321200" y="66334"/>
                </a:lnTo>
                <a:lnTo>
                  <a:pt x="281259" y="89039"/>
                </a:lnTo>
                <a:lnTo>
                  <a:pt x="243321" y="114665"/>
                </a:lnTo>
                <a:lnTo>
                  <a:pt x="207540" y="143060"/>
                </a:lnTo>
                <a:lnTo>
                  <a:pt x="174069" y="174069"/>
                </a:lnTo>
                <a:lnTo>
                  <a:pt x="143060" y="207540"/>
                </a:lnTo>
                <a:lnTo>
                  <a:pt x="114665" y="243321"/>
                </a:lnTo>
                <a:lnTo>
                  <a:pt x="89039" y="281259"/>
                </a:lnTo>
                <a:lnTo>
                  <a:pt x="66334" y="321200"/>
                </a:lnTo>
                <a:lnTo>
                  <a:pt x="46702" y="362991"/>
                </a:lnTo>
                <a:lnTo>
                  <a:pt x="30297" y="406481"/>
                </a:lnTo>
                <a:lnTo>
                  <a:pt x="17271" y="451515"/>
                </a:lnTo>
                <a:lnTo>
                  <a:pt x="7778" y="497942"/>
                </a:lnTo>
                <a:lnTo>
                  <a:pt x="1970" y="545607"/>
                </a:lnTo>
                <a:lnTo>
                  <a:pt x="0" y="594360"/>
                </a:lnTo>
                <a:lnTo>
                  <a:pt x="1970" y="643112"/>
                </a:lnTo>
                <a:lnTo>
                  <a:pt x="7778" y="690777"/>
                </a:lnTo>
                <a:lnTo>
                  <a:pt x="17271" y="737204"/>
                </a:lnTo>
                <a:lnTo>
                  <a:pt x="30297" y="782238"/>
                </a:lnTo>
                <a:lnTo>
                  <a:pt x="46702" y="825728"/>
                </a:lnTo>
                <a:lnTo>
                  <a:pt x="66334" y="867519"/>
                </a:lnTo>
                <a:lnTo>
                  <a:pt x="89039" y="907460"/>
                </a:lnTo>
                <a:lnTo>
                  <a:pt x="114665" y="945398"/>
                </a:lnTo>
                <a:lnTo>
                  <a:pt x="143060" y="981179"/>
                </a:lnTo>
                <a:lnTo>
                  <a:pt x="174069" y="1014650"/>
                </a:lnTo>
                <a:lnTo>
                  <a:pt x="207540" y="1045659"/>
                </a:lnTo>
                <a:lnTo>
                  <a:pt x="243321" y="1074054"/>
                </a:lnTo>
                <a:lnTo>
                  <a:pt x="281259" y="1099680"/>
                </a:lnTo>
                <a:lnTo>
                  <a:pt x="321200" y="1122385"/>
                </a:lnTo>
                <a:lnTo>
                  <a:pt x="362991" y="1142017"/>
                </a:lnTo>
                <a:lnTo>
                  <a:pt x="406481" y="1158422"/>
                </a:lnTo>
                <a:lnTo>
                  <a:pt x="451515" y="1171448"/>
                </a:lnTo>
                <a:lnTo>
                  <a:pt x="497942" y="1180941"/>
                </a:lnTo>
                <a:lnTo>
                  <a:pt x="545607" y="1186749"/>
                </a:lnTo>
                <a:lnTo>
                  <a:pt x="594360" y="1188720"/>
                </a:lnTo>
                <a:lnTo>
                  <a:pt x="643112" y="1186749"/>
                </a:lnTo>
                <a:lnTo>
                  <a:pt x="690777" y="1180941"/>
                </a:lnTo>
                <a:lnTo>
                  <a:pt x="737204" y="1171448"/>
                </a:lnTo>
                <a:lnTo>
                  <a:pt x="782238" y="1158422"/>
                </a:lnTo>
                <a:lnTo>
                  <a:pt x="825728" y="1142017"/>
                </a:lnTo>
                <a:lnTo>
                  <a:pt x="867519" y="1122385"/>
                </a:lnTo>
                <a:lnTo>
                  <a:pt x="907460" y="1099680"/>
                </a:lnTo>
                <a:lnTo>
                  <a:pt x="945398" y="1074054"/>
                </a:lnTo>
                <a:lnTo>
                  <a:pt x="981179" y="1045659"/>
                </a:lnTo>
                <a:lnTo>
                  <a:pt x="1014650" y="1014650"/>
                </a:lnTo>
                <a:lnTo>
                  <a:pt x="1045659" y="981179"/>
                </a:lnTo>
                <a:lnTo>
                  <a:pt x="1074054" y="945398"/>
                </a:lnTo>
                <a:lnTo>
                  <a:pt x="1099680" y="907460"/>
                </a:lnTo>
                <a:lnTo>
                  <a:pt x="1122385" y="867519"/>
                </a:lnTo>
                <a:lnTo>
                  <a:pt x="1142017" y="825728"/>
                </a:lnTo>
                <a:lnTo>
                  <a:pt x="1158422" y="782238"/>
                </a:lnTo>
                <a:lnTo>
                  <a:pt x="1171448" y="737204"/>
                </a:lnTo>
                <a:lnTo>
                  <a:pt x="1180941" y="690777"/>
                </a:lnTo>
                <a:lnTo>
                  <a:pt x="1186749" y="643112"/>
                </a:lnTo>
                <a:lnTo>
                  <a:pt x="1188719" y="594360"/>
                </a:lnTo>
                <a:lnTo>
                  <a:pt x="1186749" y="545607"/>
                </a:lnTo>
                <a:lnTo>
                  <a:pt x="1180941" y="497942"/>
                </a:lnTo>
                <a:lnTo>
                  <a:pt x="1171448" y="451515"/>
                </a:lnTo>
                <a:lnTo>
                  <a:pt x="1158422" y="406481"/>
                </a:lnTo>
                <a:lnTo>
                  <a:pt x="1142017" y="362991"/>
                </a:lnTo>
                <a:lnTo>
                  <a:pt x="1122385" y="321200"/>
                </a:lnTo>
                <a:lnTo>
                  <a:pt x="1099680" y="281259"/>
                </a:lnTo>
                <a:lnTo>
                  <a:pt x="1074054" y="243321"/>
                </a:lnTo>
                <a:lnTo>
                  <a:pt x="1045659" y="207540"/>
                </a:lnTo>
                <a:lnTo>
                  <a:pt x="1014650" y="174069"/>
                </a:lnTo>
                <a:lnTo>
                  <a:pt x="981179" y="143060"/>
                </a:lnTo>
                <a:lnTo>
                  <a:pt x="945398" y="114665"/>
                </a:lnTo>
                <a:lnTo>
                  <a:pt x="907460" y="89039"/>
                </a:lnTo>
                <a:lnTo>
                  <a:pt x="867519" y="66334"/>
                </a:lnTo>
                <a:lnTo>
                  <a:pt x="825728" y="46702"/>
                </a:lnTo>
                <a:lnTo>
                  <a:pt x="782238" y="30297"/>
                </a:lnTo>
                <a:lnTo>
                  <a:pt x="737204" y="17271"/>
                </a:lnTo>
                <a:lnTo>
                  <a:pt x="690777" y="7778"/>
                </a:lnTo>
                <a:lnTo>
                  <a:pt x="643112" y="1970"/>
                </a:lnTo>
                <a:lnTo>
                  <a:pt x="594360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ＭＳ Ｐゴシック"/>
            </a:endParaRP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230FD69A-C5BC-4400-9CDD-E82AE7AE22F1}"/>
              </a:ext>
            </a:extLst>
          </p:cNvPr>
          <p:cNvSpPr/>
          <p:nvPr/>
        </p:nvSpPr>
        <p:spPr>
          <a:xfrm>
            <a:off x="948187" y="1969107"/>
            <a:ext cx="3075184" cy="979731"/>
          </a:xfrm>
          <a:prstGeom prst="roundRect">
            <a:avLst>
              <a:gd name="adj" fmla="val 8133"/>
            </a:avLst>
          </a:prstGeom>
          <a:solidFill>
            <a:srgbClr val="F3F3F3">
              <a:alpha val="95000"/>
            </a:srgbClr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113D5F"/>
                </a:solidFill>
                <a:effectLst/>
                <a:uLnTx/>
                <a:uFillTx/>
                <a:latin typeface="Montserrat" panose="00000500000000000000" pitchFamily="2" charset="0"/>
                <a:ea typeface="ＭＳ Ｐゴシック"/>
                <a:cs typeface="Arial" panose="020B0604020202020204" pitchFamily="34" charset="0"/>
              </a:rPr>
              <a:t>Health Service Provider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13D5F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630DF33E-8178-48CF-AE4B-BBA3B349189A}"/>
              </a:ext>
            </a:extLst>
          </p:cNvPr>
          <p:cNvSpPr/>
          <p:nvPr/>
        </p:nvSpPr>
        <p:spPr>
          <a:xfrm>
            <a:off x="948187" y="3844976"/>
            <a:ext cx="3075184" cy="2228790"/>
          </a:xfrm>
          <a:prstGeom prst="roundRect">
            <a:avLst>
              <a:gd name="adj" fmla="val 8133"/>
            </a:avLst>
          </a:prstGeom>
          <a:solidFill>
            <a:srgbClr val="F3F3F3">
              <a:alpha val="95000"/>
            </a:srgbClr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Scalable Healthcare Providers 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including integrated service providers, hospital groups/clinic chains, specialty care chains, and diagnostics/lab groups</a:t>
            </a:r>
          </a:p>
          <a:p>
            <a:pPr marL="1143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“Centers of excellence”/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 stand-alone facilities in more immature healthcare </a:t>
            </a:r>
            <a:r>
              <a:rPr kumimoji="0" lang="en-US" sz="105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markets* </a:t>
            </a:r>
          </a:p>
          <a:p>
            <a:pPr marL="114300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Investments in PPPs 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and contracting entities to enhance public sector with private industry participant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93" name="Oval 9">
            <a:extLst>
              <a:ext uri="{FF2B5EF4-FFF2-40B4-BE49-F238E27FC236}">
                <a16:creationId xmlns:a16="http://schemas.microsoft.com/office/drawing/2014/main" id="{610F6022-8EA2-4166-A771-EAC6A689A7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031" y="1846063"/>
            <a:ext cx="457200" cy="457200"/>
          </a:xfrm>
          <a:prstGeom prst="ellipse">
            <a:avLst/>
          </a:prstGeom>
          <a:solidFill>
            <a:srgbClr val="002F54"/>
          </a:solidFill>
          <a:ln>
            <a:noFill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</a:rPr>
              <a:t>1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CBF95410-7043-4017-BC3E-B631608CC302}"/>
              </a:ext>
            </a:extLst>
          </p:cNvPr>
          <p:cNvCxnSpPr>
            <a:cxnSpLocks/>
          </p:cNvCxnSpPr>
          <p:nvPr/>
        </p:nvCxnSpPr>
        <p:spPr>
          <a:xfrm>
            <a:off x="6166931" y="2720897"/>
            <a:ext cx="0" cy="13099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bject 69">
            <a:extLst>
              <a:ext uri="{FF2B5EF4-FFF2-40B4-BE49-F238E27FC236}">
                <a16:creationId xmlns:a16="http://schemas.microsoft.com/office/drawing/2014/main" id="{15128F2F-494F-4D06-9FD0-C41122CF497D}"/>
              </a:ext>
            </a:extLst>
          </p:cNvPr>
          <p:cNvSpPr/>
          <p:nvPr/>
        </p:nvSpPr>
        <p:spPr>
          <a:xfrm>
            <a:off x="5794540" y="3039468"/>
            <a:ext cx="744782" cy="714877"/>
          </a:xfrm>
          <a:custGeom>
            <a:avLst/>
            <a:gdLst/>
            <a:ahLst/>
            <a:cxnLst/>
            <a:rect l="l" t="t" r="r" b="b"/>
            <a:pathLst>
              <a:path w="1188720" h="1188720">
                <a:moveTo>
                  <a:pt x="594359" y="0"/>
                </a:moveTo>
                <a:lnTo>
                  <a:pt x="545607" y="1970"/>
                </a:lnTo>
                <a:lnTo>
                  <a:pt x="497942" y="7778"/>
                </a:lnTo>
                <a:lnTo>
                  <a:pt x="451515" y="17271"/>
                </a:lnTo>
                <a:lnTo>
                  <a:pt x="406481" y="30297"/>
                </a:lnTo>
                <a:lnTo>
                  <a:pt x="362991" y="46702"/>
                </a:lnTo>
                <a:lnTo>
                  <a:pt x="321200" y="66334"/>
                </a:lnTo>
                <a:lnTo>
                  <a:pt x="281259" y="89039"/>
                </a:lnTo>
                <a:lnTo>
                  <a:pt x="243321" y="114665"/>
                </a:lnTo>
                <a:lnTo>
                  <a:pt x="207540" y="143060"/>
                </a:lnTo>
                <a:lnTo>
                  <a:pt x="174069" y="174069"/>
                </a:lnTo>
                <a:lnTo>
                  <a:pt x="143060" y="207540"/>
                </a:lnTo>
                <a:lnTo>
                  <a:pt x="114665" y="243321"/>
                </a:lnTo>
                <a:lnTo>
                  <a:pt x="89039" y="281259"/>
                </a:lnTo>
                <a:lnTo>
                  <a:pt x="66334" y="321200"/>
                </a:lnTo>
                <a:lnTo>
                  <a:pt x="46702" y="362991"/>
                </a:lnTo>
                <a:lnTo>
                  <a:pt x="30297" y="406481"/>
                </a:lnTo>
                <a:lnTo>
                  <a:pt x="17271" y="451515"/>
                </a:lnTo>
                <a:lnTo>
                  <a:pt x="7778" y="497942"/>
                </a:lnTo>
                <a:lnTo>
                  <a:pt x="1970" y="545607"/>
                </a:lnTo>
                <a:lnTo>
                  <a:pt x="0" y="594360"/>
                </a:lnTo>
                <a:lnTo>
                  <a:pt x="1970" y="643112"/>
                </a:lnTo>
                <a:lnTo>
                  <a:pt x="7778" y="690777"/>
                </a:lnTo>
                <a:lnTo>
                  <a:pt x="17271" y="737204"/>
                </a:lnTo>
                <a:lnTo>
                  <a:pt x="30297" y="782238"/>
                </a:lnTo>
                <a:lnTo>
                  <a:pt x="46702" y="825728"/>
                </a:lnTo>
                <a:lnTo>
                  <a:pt x="66334" y="867519"/>
                </a:lnTo>
                <a:lnTo>
                  <a:pt x="89039" y="907460"/>
                </a:lnTo>
                <a:lnTo>
                  <a:pt x="114665" y="945398"/>
                </a:lnTo>
                <a:lnTo>
                  <a:pt x="143060" y="981179"/>
                </a:lnTo>
                <a:lnTo>
                  <a:pt x="174069" y="1014650"/>
                </a:lnTo>
                <a:lnTo>
                  <a:pt x="207540" y="1045659"/>
                </a:lnTo>
                <a:lnTo>
                  <a:pt x="243321" y="1074054"/>
                </a:lnTo>
                <a:lnTo>
                  <a:pt x="281259" y="1099680"/>
                </a:lnTo>
                <a:lnTo>
                  <a:pt x="321200" y="1122385"/>
                </a:lnTo>
                <a:lnTo>
                  <a:pt x="362991" y="1142017"/>
                </a:lnTo>
                <a:lnTo>
                  <a:pt x="406481" y="1158422"/>
                </a:lnTo>
                <a:lnTo>
                  <a:pt x="451515" y="1171448"/>
                </a:lnTo>
                <a:lnTo>
                  <a:pt x="497942" y="1180941"/>
                </a:lnTo>
                <a:lnTo>
                  <a:pt x="545607" y="1186749"/>
                </a:lnTo>
                <a:lnTo>
                  <a:pt x="594359" y="1188720"/>
                </a:lnTo>
                <a:lnTo>
                  <a:pt x="643112" y="1186749"/>
                </a:lnTo>
                <a:lnTo>
                  <a:pt x="690777" y="1180941"/>
                </a:lnTo>
                <a:lnTo>
                  <a:pt x="737204" y="1171448"/>
                </a:lnTo>
                <a:lnTo>
                  <a:pt x="782238" y="1158422"/>
                </a:lnTo>
                <a:lnTo>
                  <a:pt x="825728" y="1142017"/>
                </a:lnTo>
                <a:lnTo>
                  <a:pt x="867519" y="1122385"/>
                </a:lnTo>
                <a:lnTo>
                  <a:pt x="907460" y="1099680"/>
                </a:lnTo>
                <a:lnTo>
                  <a:pt x="945398" y="1074054"/>
                </a:lnTo>
                <a:lnTo>
                  <a:pt x="981179" y="1045659"/>
                </a:lnTo>
                <a:lnTo>
                  <a:pt x="1014650" y="1014650"/>
                </a:lnTo>
                <a:lnTo>
                  <a:pt x="1045659" y="981179"/>
                </a:lnTo>
                <a:lnTo>
                  <a:pt x="1074054" y="945398"/>
                </a:lnTo>
                <a:lnTo>
                  <a:pt x="1099680" y="907460"/>
                </a:lnTo>
                <a:lnTo>
                  <a:pt x="1122385" y="867519"/>
                </a:lnTo>
                <a:lnTo>
                  <a:pt x="1142017" y="825728"/>
                </a:lnTo>
                <a:lnTo>
                  <a:pt x="1158422" y="782238"/>
                </a:lnTo>
                <a:lnTo>
                  <a:pt x="1171448" y="737204"/>
                </a:lnTo>
                <a:lnTo>
                  <a:pt x="1180941" y="690777"/>
                </a:lnTo>
                <a:lnTo>
                  <a:pt x="1186749" y="643112"/>
                </a:lnTo>
                <a:lnTo>
                  <a:pt x="1188720" y="594360"/>
                </a:lnTo>
                <a:lnTo>
                  <a:pt x="1186749" y="545607"/>
                </a:lnTo>
                <a:lnTo>
                  <a:pt x="1180941" y="497942"/>
                </a:lnTo>
                <a:lnTo>
                  <a:pt x="1171448" y="451515"/>
                </a:lnTo>
                <a:lnTo>
                  <a:pt x="1158422" y="406481"/>
                </a:lnTo>
                <a:lnTo>
                  <a:pt x="1142017" y="362991"/>
                </a:lnTo>
                <a:lnTo>
                  <a:pt x="1122385" y="321200"/>
                </a:lnTo>
                <a:lnTo>
                  <a:pt x="1099680" y="281259"/>
                </a:lnTo>
                <a:lnTo>
                  <a:pt x="1074054" y="243321"/>
                </a:lnTo>
                <a:lnTo>
                  <a:pt x="1045659" y="207540"/>
                </a:lnTo>
                <a:lnTo>
                  <a:pt x="1014650" y="174069"/>
                </a:lnTo>
                <a:lnTo>
                  <a:pt x="981179" y="143060"/>
                </a:lnTo>
                <a:lnTo>
                  <a:pt x="945398" y="114665"/>
                </a:lnTo>
                <a:lnTo>
                  <a:pt x="907460" y="89039"/>
                </a:lnTo>
                <a:lnTo>
                  <a:pt x="867519" y="66334"/>
                </a:lnTo>
                <a:lnTo>
                  <a:pt x="825728" y="46702"/>
                </a:lnTo>
                <a:lnTo>
                  <a:pt x="782238" y="30297"/>
                </a:lnTo>
                <a:lnTo>
                  <a:pt x="737204" y="17271"/>
                </a:lnTo>
                <a:lnTo>
                  <a:pt x="690777" y="7778"/>
                </a:lnTo>
                <a:lnTo>
                  <a:pt x="643112" y="1970"/>
                </a:lnTo>
                <a:lnTo>
                  <a:pt x="594359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ＭＳ Ｐゴシック"/>
            </a:endParaRP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FF4311BC-BD3C-4E82-8EF4-879659CF4561}"/>
              </a:ext>
            </a:extLst>
          </p:cNvPr>
          <p:cNvSpPr/>
          <p:nvPr/>
        </p:nvSpPr>
        <p:spPr>
          <a:xfrm>
            <a:off x="4629339" y="1969107"/>
            <a:ext cx="3075184" cy="979731"/>
          </a:xfrm>
          <a:prstGeom prst="roundRect">
            <a:avLst>
              <a:gd name="adj" fmla="val 8133"/>
            </a:avLst>
          </a:prstGeom>
          <a:solidFill>
            <a:srgbClr val="F3F3F3">
              <a:alpha val="95000"/>
            </a:srgbClr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113D5F"/>
                </a:solidFill>
                <a:effectLst/>
                <a:uLnTx/>
                <a:uFillTx/>
                <a:latin typeface="Montserrat" panose="00000500000000000000" pitchFamily="2" charset="0"/>
                <a:ea typeface="ＭＳ Ｐゴシック"/>
                <a:cs typeface="Arial" panose="020B0604020202020204" pitchFamily="34" charset="0"/>
              </a:rPr>
              <a:t>Pharmaceuticals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E1EC0DE1-CC54-4C5C-83B2-B1C4CA37B8C0}"/>
              </a:ext>
            </a:extLst>
          </p:cNvPr>
          <p:cNvSpPr/>
          <p:nvPr/>
        </p:nvSpPr>
        <p:spPr>
          <a:xfrm>
            <a:off x="4629339" y="3844976"/>
            <a:ext cx="3075184" cy="2228790"/>
          </a:xfrm>
          <a:prstGeom prst="roundRect">
            <a:avLst>
              <a:gd name="adj" fmla="val 8133"/>
            </a:avLst>
          </a:prstGeom>
          <a:solidFill>
            <a:srgbClr val="F3F3F3">
              <a:alpha val="95000"/>
            </a:srgbClr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Regional generics manufacturers to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support the development of pharmaceutical hubs in key development markets</a:t>
            </a:r>
            <a:endParaRPr lang="en-US" sz="1050" dirty="0">
              <a:solidFill>
                <a:srgbClr val="595959"/>
              </a:solidFill>
              <a:latin typeface="Montserrat" panose="00000500000000000000" pitchFamily="2" charset="0"/>
            </a:endParaRPr>
          </a:p>
          <a:p>
            <a:pPr marL="114300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Support </a:t>
            </a:r>
            <a:r>
              <a:rPr lang="en-US" sz="1050" b="1" dirty="0">
                <a:solidFill>
                  <a:srgbClr val="595959"/>
                </a:solidFill>
                <a:latin typeface="Montserrat" panose="00000500000000000000" pitchFamily="2" charset="0"/>
              </a:rPr>
              <a:t>Biopharma, API intermediates and local vaccine manufacturers </a:t>
            </a:r>
            <a:r>
              <a:rPr lang="en-US" sz="1050" dirty="0">
                <a:solidFill>
                  <a:srgbClr val="595959"/>
                </a:solidFill>
                <a:latin typeface="Montserrat" panose="00000500000000000000" pitchFamily="2" charset="0"/>
              </a:rPr>
              <a:t>and partner with sizeable PE fund managers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ontserrat" panose="00000500000000000000" pitchFamily="2" charset="0"/>
            </a:endParaRPr>
          </a:p>
          <a:p>
            <a:pPr marL="1143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Pharmaceutical Distribution and Retail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Montserrat" panose="00000500000000000000" pitchFamily="2" charset="0"/>
              </a:rPr>
              <a:t>including supply chain logistics as well as digital and omni-channel pharmaceutical retailers.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108" name="Oval 9">
            <a:extLst>
              <a:ext uri="{FF2B5EF4-FFF2-40B4-BE49-F238E27FC236}">
                <a16:creationId xmlns:a16="http://schemas.microsoft.com/office/drawing/2014/main" id="{82CF77F1-D8AE-4F5E-BA0E-990CA955C1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4379" y="1846063"/>
            <a:ext cx="457200" cy="457200"/>
          </a:xfrm>
          <a:prstGeom prst="ellipse">
            <a:avLst/>
          </a:prstGeom>
          <a:solidFill>
            <a:srgbClr val="002F54"/>
          </a:solidFill>
          <a:ln>
            <a:noFill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2400" b="1" kern="0">
                <a:solidFill>
                  <a:schemeClr val="bg1"/>
                </a:solidFill>
                <a:latin typeface="Montserrat" panose="00000500000000000000" pitchFamily="2" charset="0"/>
              </a:rPr>
              <a:t>2</a:t>
            </a:r>
            <a:endParaRPr kumimoji="0" lang="en-US" altLang="en-US" sz="24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A9FF7FE-5288-4E43-B8E8-3427F0C9993D}"/>
              </a:ext>
            </a:extLst>
          </p:cNvPr>
          <p:cNvCxnSpPr>
            <a:cxnSpLocks/>
          </p:cNvCxnSpPr>
          <p:nvPr/>
        </p:nvCxnSpPr>
        <p:spPr>
          <a:xfrm>
            <a:off x="9833779" y="2720897"/>
            <a:ext cx="0" cy="13099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object 83">
            <a:extLst>
              <a:ext uri="{FF2B5EF4-FFF2-40B4-BE49-F238E27FC236}">
                <a16:creationId xmlns:a16="http://schemas.microsoft.com/office/drawing/2014/main" id="{0BDE0F20-3341-47C5-898B-89C750B7D6B6}"/>
              </a:ext>
            </a:extLst>
          </p:cNvPr>
          <p:cNvSpPr/>
          <p:nvPr/>
        </p:nvSpPr>
        <p:spPr>
          <a:xfrm>
            <a:off x="9463231" y="3032469"/>
            <a:ext cx="741097" cy="738229"/>
          </a:xfrm>
          <a:custGeom>
            <a:avLst/>
            <a:gdLst/>
            <a:ahLst/>
            <a:cxnLst/>
            <a:rect l="l" t="t" r="r" b="b"/>
            <a:pathLst>
              <a:path w="1188720" h="1188720">
                <a:moveTo>
                  <a:pt x="594359" y="0"/>
                </a:moveTo>
                <a:lnTo>
                  <a:pt x="545607" y="1970"/>
                </a:lnTo>
                <a:lnTo>
                  <a:pt x="497942" y="7778"/>
                </a:lnTo>
                <a:lnTo>
                  <a:pt x="451515" y="17271"/>
                </a:lnTo>
                <a:lnTo>
                  <a:pt x="406481" y="30297"/>
                </a:lnTo>
                <a:lnTo>
                  <a:pt x="362991" y="46702"/>
                </a:lnTo>
                <a:lnTo>
                  <a:pt x="321200" y="66334"/>
                </a:lnTo>
                <a:lnTo>
                  <a:pt x="281259" y="89039"/>
                </a:lnTo>
                <a:lnTo>
                  <a:pt x="243321" y="114665"/>
                </a:lnTo>
                <a:lnTo>
                  <a:pt x="207540" y="143060"/>
                </a:lnTo>
                <a:lnTo>
                  <a:pt x="174069" y="174069"/>
                </a:lnTo>
                <a:lnTo>
                  <a:pt x="143060" y="207540"/>
                </a:lnTo>
                <a:lnTo>
                  <a:pt x="114665" y="243321"/>
                </a:lnTo>
                <a:lnTo>
                  <a:pt x="89039" y="281259"/>
                </a:lnTo>
                <a:lnTo>
                  <a:pt x="66334" y="321200"/>
                </a:lnTo>
                <a:lnTo>
                  <a:pt x="46702" y="362991"/>
                </a:lnTo>
                <a:lnTo>
                  <a:pt x="30297" y="406481"/>
                </a:lnTo>
                <a:lnTo>
                  <a:pt x="17271" y="451515"/>
                </a:lnTo>
                <a:lnTo>
                  <a:pt x="7778" y="497942"/>
                </a:lnTo>
                <a:lnTo>
                  <a:pt x="1970" y="545607"/>
                </a:lnTo>
                <a:lnTo>
                  <a:pt x="0" y="594359"/>
                </a:lnTo>
                <a:lnTo>
                  <a:pt x="1970" y="643112"/>
                </a:lnTo>
                <a:lnTo>
                  <a:pt x="7778" y="690777"/>
                </a:lnTo>
                <a:lnTo>
                  <a:pt x="17271" y="737204"/>
                </a:lnTo>
                <a:lnTo>
                  <a:pt x="30297" y="782238"/>
                </a:lnTo>
                <a:lnTo>
                  <a:pt x="46702" y="825728"/>
                </a:lnTo>
                <a:lnTo>
                  <a:pt x="66334" y="867519"/>
                </a:lnTo>
                <a:lnTo>
                  <a:pt x="89039" y="907460"/>
                </a:lnTo>
                <a:lnTo>
                  <a:pt x="114665" y="945398"/>
                </a:lnTo>
                <a:lnTo>
                  <a:pt x="143060" y="981179"/>
                </a:lnTo>
                <a:lnTo>
                  <a:pt x="174069" y="1014650"/>
                </a:lnTo>
                <a:lnTo>
                  <a:pt x="207540" y="1045659"/>
                </a:lnTo>
                <a:lnTo>
                  <a:pt x="243321" y="1074054"/>
                </a:lnTo>
                <a:lnTo>
                  <a:pt x="281259" y="1099680"/>
                </a:lnTo>
                <a:lnTo>
                  <a:pt x="321200" y="1122385"/>
                </a:lnTo>
                <a:lnTo>
                  <a:pt x="362991" y="1142017"/>
                </a:lnTo>
                <a:lnTo>
                  <a:pt x="406481" y="1158422"/>
                </a:lnTo>
                <a:lnTo>
                  <a:pt x="451515" y="1171448"/>
                </a:lnTo>
                <a:lnTo>
                  <a:pt x="497942" y="1180941"/>
                </a:lnTo>
                <a:lnTo>
                  <a:pt x="545607" y="1186749"/>
                </a:lnTo>
                <a:lnTo>
                  <a:pt x="594359" y="1188719"/>
                </a:lnTo>
                <a:lnTo>
                  <a:pt x="643112" y="1186749"/>
                </a:lnTo>
                <a:lnTo>
                  <a:pt x="690777" y="1180941"/>
                </a:lnTo>
                <a:lnTo>
                  <a:pt x="737204" y="1171448"/>
                </a:lnTo>
                <a:lnTo>
                  <a:pt x="782238" y="1158422"/>
                </a:lnTo>
                <a:lnTo>
                  <a:pt x="825728" y="1142017"/>
                </a:lnTo>
                <a:lnTo>
                  <a:pt x="867519" y="1122385"/>
                </a:lnTo>
                <a:lnTo>
                  <a:pt x="907460" y="1099680"/>
                </a:lnTo>
                <a:lnTo>
                  <a:pt x="945398" y="1074054"/>
                </a:lnTo>
                <a:lnTo>
                  <a:pt x="981179" y="1045659"/>
                </a:lnTo>
                <a:lnTo>
                  <a:pt x="1014650" y="1014650"/>
                </a:lnTo>
                <a:lnTo>
                  <a:pt x="1045659" y="981179"/>
                </a:lnTo>
                <a:lnTo>
                  <a:pt x="1074054" y="945398"/>
                </a:lnTo>
                <a:lnTo>
                  <a:pt x="1099680" y="907460"/>
                </a:lnTo>
                <a:lnTo>
                  <a:pt x="1122385" y="867519"/>
                </a:lnTo>
                <a:lnTo>
                  <a:pt x="1142017" y="825728"/>
                </a:lnTo>
                <a:lnTo>
                  <a:pt x="1158422" y="782238"/>
                </a:lnTo>
                <a:lnTo>
                  <a:pt x="1171448" y="737204"/>
                </a:lnTo>
                <a:lnTo>
                  <a:pt x="1180941" y="690777"/>
                </a:lnTo>
                <a:lnTo>
                  <a:pt x="1186749" y="643112"/>
                </a:lnTo>
                <a:lnTo>
                  <a:pt x="1188720" y="594359"/>
                </a:lnTo>
                <a:lnTo>
                  <a:pt x="1186749" y="545607"/>
                </a:lnTo>
                <a:lnTo>
                  <a:pt x="1180941" y="497942"/>
                </a:lnTo>
                <a:lnTo>
                  <a:pt x="1171448" y="451515"/>
                </a:lnTo>
                <a:lnTo>
                  <a:pt x="1158422" y="406481"/>
                </a:lnTo>
                <a:lnTo>
                  <a:pt x="1142017" y="362991"/>
                </a:lnTo>
                <a:lnTo>
                  <a:pt x="1122385" y="321200"/>
                </a:lnTo>
                <a:lnTo>
                  <a:pt x="1099680" y="281259"/>
                </a:lnTo>
                <a:lnTo>
                  <a:pt x="1074054" y="243321"/>
                </a:lnTo>
                <a:lnTo>
                  <a:pt x="1045659" y="207540"/>
                </a:lnTo>
                <a:lnTo>
                  <a:pt x="1014650" y="174069"/>
                </a:lnTo>
                <a:lnTo>
                  <a:pt x="981179" y="143060"/>
                </a:lnTo>
                <a:lnTo>
                  <a:pt x="945398" y="114665"/>
                </a:lnTo>
                <a:lnTo>
                  <a:pt x="907460" y="89039"/>
                </a:lnTo>
                <a:lnTo>
                  <a:pt x="867519" y="66334"/>
                </a:lnTo>
                <a:lnTo>
                  <a:pt x="825728" y="46702"/>
                </a:lnTo>
                <a:lnTo>
                  <a:pt x="782238" y="30297"/>
                </a:lnTo>
                <a:lnTo>
                  <a:pt x="737204" y="17271"/>
                </a:lnTo>
                <a:lnTo>
                  <a:pt x="690777" y="7778"/>
                </a:lnTo>
                <a:lnTo>
                  <a:pt x="643112" y="1970"/>
                </a:lnTo>
                <a:lnTo>
                  <a:pt x="594359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ＭＳ Ｐゴシック"/>
            </a:endParaRP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498648AE-F0EF-4ACE-8020-BF02846322FD}"/>
              </a:ext>
            </a:extLst>
          </p:cNvPr>
          <p:cNvSpPr/>
          <p:nvPr/>
        </p:nvSpPr>
        <p:spPr>
          <a:xfrm>
            <a:off x="8296187" y="1969107"/>
            <a:ext cx="3075184" cy="979731"/>
          </a:xfrm>
          <a:prstGeom prst="roundRect">
            <a:avLst>
              <a:gd name="adj" fmla="val 8133"/>
            </a:avLst>
          </a:prstGeom>
          <a:solidFill>
            <a:srgbClr val="F3F3F3">
              <a:alpha val="95000"/>
            </a:srgbClr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113D5F"/>
                </a:solidFill>
                <a:effectLst/>
                <a:uLnTx/>
                <a:uFillTx/>
                <a:latin typeface="Montserrat" panose="00000500000000000000" pitchFamily="2" charset="0"/>
                <a:ea typeface="ＭＳ Ｐゴシック"/>
                <a:cs typeface="Arial" panose="020B0604020202020204" pitchFamily="34" charset="0"/>
              </a:rPr>
              <a:t>Medical Technologies</a:t>
            </a:r>
          </a:p>
        </p:txBody>
      </p: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F894E022-6CF9-4890-ACA6-F49FCCD88680}"/>
              </a:ext>
            </a:extLst>
          </p:cNvPr>
          <p:cNvSpPr/>
          <p:nvPr/>
        </p:nvSpPr>
        <p:spPr>
          <a:xfrm>
            <a:off x="8296187" y="3844976"/>
            <a:ext cx="3075184" cy="2228790"/>
          </a:xfrm>
          <a:prstGeom prst="roundRect">
            <a:avLst>
              <a:gd name="adj" fmla="val 8133"/>
            </a:avLst>
          </a:prstGeom>
          <a:solidFill>
            <a:srgbClr val="F3F3F3">
              <a:alpha val="95000"/>
            </a:srgbClr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50" b="1">
                <a:solidFill>
                  <a:srgbClr val="595959"/>
                </a:solidFill>
                <a:latin typeface="Montserrat" panose="00000500000000000000" pitchFamily="2" charset="0"/>
              </a:rPr>
              <a:t>Medical devices and equipment manufacturers </a:t>
            </a:r>
            <a:r>
              <a:rPr lang="en-US" sz="1050">
                <a:solidFill>
                  <a:srgbClr val="595959"/>
                </a:solidFill>
                <a:latin typeface="Montserrat" panose="00000500000000000000" pitchFamily="2" charset="0"/>
              </a:rPr>
              <a:t>of products appropriate for developing market conditions</a:t>
            </a:r>
          </a:p>
          <a:p>
            <a:pPr marL="1143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50" b="1">
                <a:solidFill>
                  <a:srgbClr val="595959"/>
                </a:solidFill>
                <a:latin typeface="Montserrat" panose="00000500000000000000" pitchFamily="2" charset="0"/>
              </a:rPr>
              <a:t>Distribution networks </a:t>
            </a:r>
            <a:r>
              <a:rPr lang="en-US" sz="1050">
                <a:solidFill>
                  <a:srgbClr val="595959"/>
                </a:solidFill>
                <a:latin typeface="Montserrat" panose="00000500000000000000" pitchFamily="2" charset="0"/>
              </a:rPr>
              <a:t>for high quality medical equipment</a:t>
            </a:r>
          </a:p>
          <a:p>
            <a:pPr marL="1143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50" b="1">
                <a:solidFill>
                  <a:srgbClr val="595959"/>
                </a:solidFill>
                <a:latin typeface="Montserrat" panose="00000500000000000000" pitchFamily="2" charset="0"/>
              </a:rPr>
              <a:t>Digital Health </a:t>
            </a:r>
            <a:r>
              <a:rPr lang="en-US" sz="1050">
                <a:solidFill>
                  <a:srgbClr val="595959"/>
                </a:solidFill>
                <a:latin typeface="Montserrat" panose="00000500000000000000" pitchFamily="2" charset="0"/>
              </a:rPr>
              <a:t>(Services and Technology Support)</a:t>
            </a:r>
          </a:p>
        </p:txBody>
      </p:sp>
      <p:sp>
        <p:nvSpPr>
          <p:cNvPr id="126" name="Oval 9">
            <a:extLst>
              <a:ext uri="{FF2B5EF4-FFF2-40B4-BE49-F238E27FC236}">
                <a16:creationId xmlns:a16="http://schemas.microsoft.com/office/drawing/2014/main" id="{49F89386-51E6-43AD-913A-C7A8D8780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6032" y="1846063"/>
            <a:ext cx="457200" cy="457200"/>
          </a:xfrm>
          <a:prstGeom prst="ellipse">
            <a:avLst/>
          </a:prstGeom>
          <a:solidFill>
            <a:srgbClr val="002F54"/>
          </a:solidFill>
          <a:ln>
            <a:noFill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</a:rPr>
              <a:t>3</a:t>
            </a:r>
          </a:p>
        </p:txBody>
      </p:sp>
      <p:pic>
        <p:nvPicPr>
          <p:cNvPr id="57" name="Picture 56" descr="A picture containing object, kit, clock, drawing&#10;&#10;Description automatically generated">
            <a:extLst>
              <a:ext uri="{FF2B5EF4-FFF2-40B4-BE49-F238E27FC236}">
                <a16:creationId xmlns:a16="http://schemas.microsoft.com/office/drawing/2014/main" id="{25A257F9-8CE2-49DC-A04B-2AA9C088F7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69641" y="3172053"/>
            <a:ext cx="457200" cy="457200"/>
          </a:xfrm>
          <a:prstGeom prst="rect">
            <a:avLst/>
          </a:prstGeom>
        </p:spPr>
      </p:pic>
      <p:pic>
        <p:nvPicPr>
          <p:cNvPr id="60" name="Picture 59" descr="A picture containing kit, clock, drawing&#10;&#10;Description automatically generated">
            <a:extLst>
              <a:ext uri="{FF2B5EF4-FFF2-40B4-BE49-F238E27FC236}">
                <a16:creationId xmlns:a16="http://schemas.microsoft.com/office/drawing/2014/main" id="{BC36CD9D-87B1-44F0-81FA-2D06C1295B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2611" y="3122586"/>
            <a:ext cx="548640" cy="54864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B1C8794C-4DC1-4D5F-9341-10AA0FE8BCF0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59459" y="3127263"/>
            <a:ext cx="548640" cy="54864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F8D44154-99E4-4429-A539-42B7C656C975}"/>
              </a:ext>
            </a:extLst>
          </p:cNvPr>
          <p:cNvSpPr txBox="1"/>
          <p:nvPr/>
        </p:nvSpPr>
        <p:spPr>
          <a:xfrm>
            <a:off x="177800" y="6505610"/>
            <a:ext cx="323532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3363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</a:rPr>
              <a:t>*Mainly IDA countries and on a very selective basis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3FB4CCF-665E-4755-8C74-916E7DA80C40}"/>
              </a:ext>
            </a:extLst>
          </p:cNvPr>
          <p:cNvSpPr txBox="1"/>
          <p:nvPr/>
        </p:nvSpPr>
        <p:spPr>
          <a:xfrm>
            <a:off x="177800" y="6248400"/>
            <a:ext cx="330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0A87AA8-7699-4FDF-834B-1977DB9D6B8A}" type="slidenum">
              <a:rPr lang="en-US" sz="1000" b="1" smtClean="0">
                <a:solidFill>
                  <a:schemeClr val="bg1"/>
                </a:solidFill>
                <a:latin typeface="Montserrat" panose="00000500000000000000" pitchFamily="2" charset="0"/>
              </a:rPr>
              <a:t>4</a:t>
            </a:fld>
            <a:endParaRPr lang="en-US" sz="10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26361B5-683E-4459-AB3E-8017B8F4B9C6}"/>
              </a:ext>
            </a:extLst>
          </p:cNvPr>
          <p:cNvSpPr/>
          <p:nvPr/>
        </p:nvSpPr>
        <p:spPr>
          <a:xfrm>
            <a:off x="4383157" y="1733508"/>
            <a:ext cx="3638705" cy="4447980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dash"/>
            <a:miter lim="800000"/>
          </a:ln>
          <a:effectLst>
            <a:outerShdw blurRad="76200" dist="12700" dir="5400000" algn="ctr" rotWithShape="0">
              <a:srgbClr val="000000">
                <a:alpha val="10000"/>
              </a:srgbClr>
            </a:outerShdw>
          </a:effectLst>
        </p:spPr>
        <p:txBody>
          <a:bodyPr lIns="0" tIns="0" rIns="0" bIns="182880" rtlCol="0" anchor="b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5100"/>
            </a:pPr>
            <a:endParaRPr lang="en-US" sz="1050" kern="0" dirty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76395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48C43F2-6168-483B-B93F-FA19FBBBE54F}"/>
              </a:ext>
            </a:extLst>
          </p:cNvPr>
          <p:cNvSpPr txBox="1">
            <a:spLocks/>
          </p:cNvSpPr>
          <p:nvPr/>
        </p:nvSpPr>
        <p:spPr bwMode="auto">
          <a:xfrm>
            <a:off x="274320" y="457511"/>
            <a:ext cx="11640312" cy="39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 fontScale="97500" lnSpcReduction="1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b="1" cap="none">
                <a:solidFill>
                  <a:srgbClr val="021F43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algn="ctr"/>
            <a:r>
              <a:rPr lang="en-US" sz="2800" kern="0">
                <a:solidFill>
                  <a:srgbClr val="00B0F0"/>
                </a:solidFill>
                <a:latin typeface="Montserrat"/>
                <a:ea typeface="ＭＳ Ｐゴシック"/>
              </a:rPr>
              <a:t>COVID-19 </a:t>
            </a:r>
            <a:r>
              <a:rPr lang="en-US" sz="2800" kern="0">
                <a:solidFill>
                  <a:srgbClr val="003157"/>
                </a:solidFill>
                <a:latin typeface="Montserrat"/>
                <a:ea typeface="ＭＳ Ｐゴシック"/>
              </a:rPr>
              <a:t>Challenges and Opportuniti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B21BD6E-E695-4362-A998-2091250795DD}"/>
              </a:ext>
            </a:extLst>
          </p:cNvPr>
          <p:cNvGrpSpPr/>
          <p:nvPr/>
        </p:nvGrpSpPr>
        <p:grpSpPr>
          <a:xfrm>
            <a:off x="122198" y="654036"/>
            <a:ext cx="11993499" cy="5818081"/>
            <a:chOff x="99251" y="675450"/>
            <a:chExt cx="11993499" cy="581808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7A414D0-55C4-40A7-AC3C-251B6CE02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398" y="675450"/>
              <a:ext cx="11703352" cy="5818081"/>
            </a:xfrm>
            <a:prstGeom prst="rect">
              <a:avLst/>
            </a:prstGeom>
          </p:spPr>
        </p:pic>
        <p:pic>
          <p:nvPicPr>
            <p:cNvPr id="5" name="Graphic 4" descr="Chevron arrows with solid fill">
              <a:extLst>
                <a:ext uri="{FF2B5EF4-FFF2-40B4-BE49-F238E27FC236}">
                  <a16:creationId xmlns:a16="http://schemas.microsoft.com/office/drawing/2014/main" id="{6640F030-21A0-4790-8BAF-37B95C0788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6200000">
              <a:off x="10968406" y="1115381"/>
              <a:ext cx="858420" cy="914400"/>
            </a:xfrm>
            <a:prstGeom prst="rect">
              <a:avLst/>
            </a:prstGeom>
          </p:spPr>
        </p:pic>
        <p:pic>
          <p:nvPicPr>
            <p:cNvPr id="6" name="Graphic 5" descr="Chevron arrows with solid fill">
              <a:extLst>
                <a:ext uri="{FF2B5EF4-FFF2-40B4-BE49-F238E27FC236}">
                  <a16:creationId xmlns:a16="http://schemas.microsoft.com/office/drawing/2014/main" id="{B93A2999-EBC3-4007-B3B2-79A2D20DD6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127241" y="5153143"/>
              <a:ext cx="858420" cy="914400"/>
            </a:xfrm>
            <a:prstGeom prst="rect">
              <a:avLst/>
            </a:prstGeom>
          </p:spPr>
        </p:pic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A08D0DDD-A56D-42C4-A36D-6AB594BA1229}"/>
              </a:ext>
            </a:extLst>
          </p:cNvPr>
          <p:cNvSpPr txBox="1"/>
          <p:nvPr/>
        </p:nvSpPr>
        <p:spPr>
          <a:xfrm>
            <a:off x="750819" y="1398809"/>
            <a:ext cx="3358350" cy="39241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1" kern="1200">
                <a:solidFill>
                  <a:srgbClr val="C00000"/>
                </a:solidFill>
                <a:latin typeface="Montserrat" panose="00000500000000000000" pitchFamily="2" charset="0"/>
              </a:rPr>
              <a:t>Cost management </a:t>
            </a:r>
            <a:r>
              <a:rPr lang="en-US" sz="1100" kern="1200">
                <a:solidFill>
                  <a:srgbClr val="002F54"/>
                </a:solidFill>
                <a:latin typeface="Montserrat" panose="00000500000000000000" pitchFamily="2" charset="0"/>
              </a:rPr>
              <a:t>has been an imperative / Cost reduction / Headcount reduction</a:t>
            </a:r>
          </a:p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1">
                <a:solidFill>
                  <a:srgbClr val="C00000"/>
                </a:solidFill>
                <a:latin typeface="Montserrat" panose="00000500000000000000" pitchFamily="2" charset="0"/>
              </a:rPr>
              <a:t>Supply chain disruption </a:t>
            </a:r>
            <a:r>
              <a:rPr lang="en-US" sz="1100" kern="1200">
                <a:solidFill>
                  <a:srgbClr val="002F54"/>
                </a:solidFill>
                <a:latin typeface="Montserrat" panose="00000500000000000000" pitchFamily="2" charset="0"/>
              </a:rPr>
              <a:t>continues as a major issue to providers</a:t>
            </a:r>
          </a:p>
          <a:p>
            <a:pPr marL="228600" lvl="0" indent="-228600">
              <a:spcAft>
                <a:spcPts val="6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100" kern="1200">
                <a:solidFill>
                  <a:srgbClr val="002F54"/>
                </a:solidFill>
                <a:latin typeface="Montserrat" panose="00000500000000000000" pitchFamily="2" charset="0"/>
              </a:rPr>
              <a:t>Governments hesitant to work with the private sector; highlighted </a:t>
            </a:r>
            <a:r>
              <a:rPr lang="en-US" sz="1100" b="1">
                <a:solidFill>
                  <a:srgbClr val="C00000"/>
                </a:solidFill>
                <a:latin typeface="Montserrat" panose="00000500000000000000" pitchFamily="2" charset="0"/>
              </a:rPr>
              <a:t>poor health system coordination</a:t>
            </a:r>
          </a:p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>
                <a:solidFill>
                  <a:srgbClr val="002F54"/>
                </a:solidFill>
                <a:latin typeface="Montserrat" panose="00000500000000000000" pitchFamily="2" charset="0"/>
              </a:rPr>
              <a:t>COVID-19 care does NOT cover the </a:t>
            </a:r>
            <a:r>
              <a:rPr lang="en-US" sz="1100" b="1" kern="1200">
                <a:solidFill>
                  <a:srgbClr val="C00000"/>
                </a:solidFill>
                <a:latin typeface="Montserrat" panose="00000500000000000000" pitchFamily="2" charset="0"/>
              </a:rPr>
              <a:t>loss of revenue from other care</a:t>
            </a:r>
          </a:p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>
                <a:solidFill>
                  <a:srgbClr val="002F54"/>
                </a:solidFill>
                <a:latin typeface="Montserrat" panose="00000500000000000000" pitchFamily="2" charset="0"/>
              </a:rPr>
              <a:t>Concern Short-term knee-jerk vs long term business continuity</a:t>
            </a:r>
          </a:p>
          <a:p>
            <a:pPr marL="228600" indent="-228600" defTabSz="457200">
              <a:spcAft>
                <a:spcPts val="6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100" b="1" kern="1200">
                <a:solidFill>
                  <a:srgbClr val="C00000"/>
                </a:solidFill>
                <a:latin typeface="Montserrat" panose="00000500000000000000" pitchFamily="2" charset="0"/>
              </a:rPr>
              <a:t>Backlog for elective and non-elective care</a:t>
            </a:r>
          </a:p>
          <a:p>
            <a:pPr marL="228600" indent="-228600" defTabSz="457200">
              <a:spcAft>
                <a:spcPts val="6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100" b="1" kern="1200">
                <a:solidFill>
                  <a:srgbClr val="C00000"/>
                </a:solidFill>
                <a:latin typeface="Montserrat" panose="00000500000000000000" pitchFamily="2" charset="0"/>
              </a:rPr>
              <a:t>CAPEX plans delayed</a:t>
            </a:r>
          </a:p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Majority of private players did have minimum of 2-month </a:t>
            </a:r>
            <a:r>
              <a:rPr lang="en-US" sz="1100" b="1">
                <a:solidFill>
                  <a:srgbClr val="C00000"/>
                </a:solidFill>
                <a:latin typeface="Montserrat" panose="00000500000000000000" pitchFamily="2" charset="0"/>
              </a:rPr>
              <a:t>major hit on revenues</a:t>
            </a: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 (up to 70% reduction). </a:t>
            </a:r>
          </a:p>
          <a:p>
            <a:pPr marL="228600" indent="-228600" defTabSz="457200">
              <a:spcAft>
                <a:spcPts val="6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defRPr/>
            </a:pPr>
            <a:endParaRPr lang="en-US" sz="1100" b="1">
              <a:solidFill>
                <a:srgbClr val="C00000"/>
              </a:solidFill>
              <a:latin typeface="Montserrat" panose="00000500000000000000" pitchFamily="2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2CEFC1E-FC2B-4890-AD7B-335BD070CD84}"/>
              </a:ext>
            </a:extLst>
          </p:cNvPr>
          <p:cNvSpPr txBox="1"/>
          <p:nvPr/>
        </p:nvSpPr>
        <p:spPr>
          <a:xfrm>
            <a:off x="8841279" y="2251773"/>
            <a:ext cx="2988393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Opportunity to </a:t>
            </a:r>
            <a:r>
              <a:rPr lang="en-US" sz="1100" b="1">
                <a:solidFill>
                  <a:srgbClr val="00B050"/>
                </a:solidFill>
                <a:latin typeface="Montserrat" panose="00000500000000000000" pitchFamily="2" charset="0"/>
              </a:rPr>
              <a:t>streamline regulatory approval processes </a:t>
            </a: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for innovative medicines and therapies</a:t>
            </a:r>
          </a:p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1">
                <a:solidFill>
                  <a:srgbClr val="00B050"/>
                </a:solidFill>
                <a:latin typeface="Montserrat" panose="00000500000000000000" pitchFamily="2" charset="0"/>
              </a:rPr>
              <a:t>Increased focus on quality, patient safety</a:t>
            </a:r>
          </a:p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Rethinking of infrastructure design and modular construction to facilitate quick and timely reconfiguration as the need for isolation rooms, ICUs changes</a:t>
            </a:r>
          </a:p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1">
                <a:solidFill>
                  <a:srgbClr val="00B050"/>
                </a:solidFill>
                <a:latin typeface="Montserrat" panose="00000500000000000000" pitchFamily="2" charset="0"/>
              </a:rPr>
              <a:t>Process improvements and workflow optimization </a:t>
            </a: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to align with enhanced quality and patient safety needs</a:t>
            </a:r>
          </a:p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Government oversight increase</a:t>
            </a:r>
          </a:p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Increased </a:t>
            </a:r>
            <a:r>
              <a:rPr lang="en-US" sz="1100" b="1">
                <a:solidFill>
                  <a:srgbClr val="00B050"/>
                </a:solidFill>
                <a:latin typeface="Montserrat" panose="00000500000000000000" pitchFamily="2" charset="0"/>
              </a:rPr>
              <a:t>public private </a:t>
            </a: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collaboration opportunitie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B7E8805-3066-4F76-88A6-508168E7F8A9}"/>
              </a:ext>
            </a:extLst>
          </p:cNvPr>
          <p:cNvSpPr txBox="1"/>
          <p:nvPr/>
        </p:nvSpPr>
        <p:spPr>
          <a:xfrm>
            <a:off x="1596261" y="6079226"/>
            <a:ext cx="64682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 defTabSz="457200"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Healthcare operators with </a:t>
            </a:r>
            <a:r>
              <a:rPr lang="en-US" sz="1100" b="1">
                <a:solidFill>
                  <a:srgbClr val="00B050"/>
                </a:solidFill>
                <a:latin typeface="Montserrat" panose="00000500000000000000" pitchFamily="2" charset="0"/>
              </a:rPr>
              <a:t>diversified revenue channels and patient flow </a:t>
            </a: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channels seem to deal with the crisis better than single facility provider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81085C6-356D-4883-9DF7-ACA0713510F8}"/>
              </a:ext>
            </a:extLst>
          </p:cNvPr>
          <p:cNvSpPr txBox="1"/>
          <p:nvPr/>
        </p:nvSpPr>
        <p:spPr>
          <a:xfrm>
            <a:off x="177800" y="6248400"/>
            <a:ext cx="330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0A87AA8-7699-4FDF-834B-1977DB9D6B8A}" type="slidenum">
              <a:rPr lang="en-US" sz="1000" b="1" smtClean="0">
                <a:solidFill>
                  <a:srgbClr val="002F54"/>
                </a:solidFill>
                <a:latin typeface="Montserrat" panose="00000500000000000000" pitchFamily="2" charset="0"/>
              </a:rPr>
              <a:t>5</a:t>
            </a:fld>
            <a:endParaRPr lang="en-US" sz="1000" b="1">
              <a:solidFill>
                <a:srgbClr val="002F54"/>
              </a:solidFill>
              <a:latin typeface="Montserrat" panose="000005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4CD991-4728-4A5E-A569-43DC0D58589E}"/>
              </a:ext>
            </a:extLst>
          </p:cNvPr>
          <p:cNvSpPr txBox="1"/>
          <p:nvPr/>
        </p:nvSpPr>
        <p:spPr>
          <a:xfrm>
            <a:off x="4956002" y="4754242"/>
            <a:ext cx="3754548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Regionalization and localization of production of essential medical equipment to create </a:t>
            </a:r>
            <a:r>
              <a:rPr lang="en-US" sz="1100" b="1">
                <a:solidFill>
                  <a:srgbClr val="00B050"/>
                </a:solidFill>
                <a:latin typeface="Montserrat" panose="00000500000000000000" pitchFamily="2" charset="0"/>
              </a:rPr>
              <a:t>more robust supply chain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08B4B13-860D-4435-A4CE-8E47B08ED576}"/>
              </a:ext>
            </a:extLst>
          </p:cNvPr>
          <p:cNvGrpSpPr/>
          <p:nvPr/>
        </p:nvGrpSpPr>
        <p:grpSpPr>
          <a:xfrm>
            <a:off x="4162175" y="1398809"/>
            <a:ext cx="3417145" cy="1938992"/>
            <a:chOff x="3800754" y="1170745"/>
            <a:chExt cx="3417145" cy="1938992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EB9D450F-D6C5-4A04-B7D5-CBEF4BE2DC9B}"/>
                </a:ext>
              </a:extLst>
            </p:cNvPr>
            <p:cNvSpPr txBox="1"/>
            <p:nvPr/>
          </p:nvSpPr>
          <p:spPr>
            <a:xfrm>
              <a:off x="3800754" y="1170745"/>
              <a:ext cx="3417145" cy="12618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8600" marR="0" lvl="0" indent="-228600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100" b="1">
                  <a:solidFill>
                    <a:srgbClr val="C00000"/>
                  </a:solidFill>
                  <a:latin typeface="Montserrat" panose="00000500000000000000" pitchFamily="2" charset="0"/>
                </a:rPr>
                <a:t>Price gouging </a:t>
              </a:r>
              <a:r>
                <a:rPr lang="en-US" sz="1100">
                  <a:solidFill>
                    <a:srgbClr val="002F54"/>
                  </a:solidFill>
                  <a:latin typeface="Montserrat" panose="00000500000000000000" pitchFamily="2" charset="0"/>
                </a:rPr>
                <a:t>in some markets</a:t>
              </a:r>
            </a:p>
            <a:p>
              <a:pPr marL="228600" indent="-228600" defTabSz="457200"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100" b="1">
                  <a:solidFill>
                    <a:srgbClr val="C00000"/>
                  </a:solidFill>
                  <a:latin typeface="Montserrat" panose="00000500000000000000" pitchFamily="2" charset="0"/>
                </a:rPr>
                <a:t>Concerns of quality and counterfeiting on the rise </a:t>
              </a:r>
              <a:r>
                <a:rPr lang="en-US" sz="1100">
                  <a:solidFill>
                    <a:srgbClr val="002F54"/>
                  </a:solidFill>
                  <a:latin typeface="Montserrat" panose="00000500000000000000" pitchFamily="2" charset="0"/>
                </a:rPr>
                <a:t>as pharmaceutical supply chains have been squeezed</a:t>
              </a:r>
            </a:p>
            <a:p>
              <a:pPr marL="228600" indent="-228600" defTabSz="457200"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anose="020B0604020202020204" pitchFamily="34" charset="0"/>
                <a:buChar char="•"/>
                <a:defRPr/>
              </a:pPr>
              <a:r>
                <a:rPr lang="en-US" sz="1100">
                  <a:solidFill>
                    <a:srgbClr val="002F54"/>
                  </a:solidFill>
                  <a:latin typeface="Montserrat" panose="00000500000000000000" pitchFamily="2" charset="0"/>
                </a:rPr>
                <a:t>Lack of recognition of </a:t>
              </a:r>
              <a:r>
                <a:rPr lang="en-US" sz="1100" b="1">
                  <a:solidFill>
                    <a:srgbClr val="C00000"/>
                  </a:solidFill>
                  <a:latin typeface="Montserrat" panose="00000500000000000000" pitchFamily="2" charset="0"/>
                </a:rPr>
                <a:t>long-lead times to increase production for key devices</a:t>
              </a:r>
              <a:endParaRPr lang="en-US" sz="1100">
                <a:solidFill>
                  <a:srgbClr val="002F54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3D7099B-54EB-4418-9563-E7C0D2F2FC13}"/>
                </a:ext>
              </a:extLst>
            </p:cNvPr>
            <p:cNvSpPr txBox="1"/>
            <p:nvPr/>
          </p:nvSpPr>
          <p:spPr>
            <a:xfrm>
              <a:off x="3800754" y="2848127"/>
              <a:ext cx="2318194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8600" marR="0" lvl="0" indent="-228600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anose="020B0604020202020204" pitchFamily="34" charset="0"/>
                <a:buChar char="•"/>
                <a:tabLst/>
                <a:defRPr/>
              </a:pPr>
              <a:endParaRPr lang="en-US" sz="1100">
                <a:solidFill>
                  <a:srgbClr val="002F54"/>
                </a:solidFill>
                <a:latin typeface="Montserrat" panose="00000500000000000000" pitchFamily="2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43F94E31-5B1E-4BD3-BAD6-F3386771C20D}"/>
              </a:ext>
            </a:extLst>
          </p:cNvPr>
          <p:cNvSpPr txBox="1"/>
          <p:nvPr/>
        </p:nvSpPr>
        <p:spPr>
          <a:xfrm>
            <a:off x="5560973" y="4241800"/>
            <a:ext cx="321497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 b="1">
                <a:solidFill>
                  <a:srgbClr val="00B050"/>
                </a:solidFill>
                <a:latin typeface="Montserrat" panose="00000500000000000000" pitchFamily="2" charset="0"/>
              </a:rPr>
              <a:t>Consolidation opportunities </a:t>
            </a: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through immediate M&amp;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69A2271-A276-4A2D-838D-FCAADF35AD12}"/>
              </a:ext>
            </a:extLst>
          </p:cNvPr>
          <p:cNvSpPr txBox="1"/>
          <p:nvPr/>
        </p:nvSpPr>
        <p:spPr>
          <a:xfrm>
            <a:off x="3789369" y="5435961"/>
            <a:ext cx="492118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Medical equipment and key pharmaceutical products are beginning to be </a:t>
            </a:r>
            <a:r>
              <a:rPr lang="en-US" sz="1100" b="1">
                <a:solidFill>
                  <a:srgbClr val="00B050"/>
                </a:solidFill>
                <a:latin typeface="Montserrat" panose="00000500000000000000" pitchFamily="2" charset="0"/>
              </a:rPr>
              <a:t>considered essential items for national security and welfare </a:t>
            </a: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globall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12ED4C-A5D0-4663-956D-19E5A4E82326}"/>
              </a:ext>
            </a:extLst>
          </p:cNvPr>
          <p:cNvSpPr txBox="1"/>
          <p:nvPr/>
        </p:nvSpPr>
        <p:spPr>
          <a:xfrm>
            <a:off x="6217493" y="3770135"/>
            <a:ext cx="279289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srgbClr val="002F54"/>
                </a:solidFill>
                <a:latin typeface="Montserrat" panose="00000500000000000000" pitchFamily="2" charset="0"/>
              </a:rPr>
              <a:t>Increased use of </a:t>
            </a:r>
            <a:r>
              <a:rPr lang="en-US" sz="1100" b="1">
                <a:solidFill>
                  <a:srgbClr val="00B050"/>
                </a:solidFill>
                <a:latin typeface="Montserrat" panose="00000500000000000000" pitchFamily="2" charset="0"/>
              </a:rPr>
              <a:t>digital health/ telemedicine</a:t>
            </a:r>
          </a:p>
        </p:txBody>
      </p:sp>
    </p:spTree>
    <p:extLst>
      <p:ext uri="{BB962C8B-B14F-4D97-AF65-F5344CB8AC3E}">
        <p14:creationId xmlns:p14="http://schemas.microsoft.com/office/powerpoint/2010/main" val="2132189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WBG Slide">
  <a:themeElements>
    <a:clrScheme name="IF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2060"/>
      </a:accent1>
      <a:accent2>
        <a:srgbClr val="0C74B7"/>
      </a:accent2>
      <a:accent3>
        <a:srgbClr val="D4E6FD"/>
      </a:accent3>
      <a:accent4>
        <a:srgbClr val="D5D6D6"/>
      </a:accent4>
      <a:accent5>
        <a:srgbClr val="FFC000"/>
      </a:accent5>
      <a:accent6>
        <a:srgbClr val="A5A5A5"/>
      </a:accent6>
      <a:hlink>
        <a:srgbClr val="002060"/>
      </a:hlink>
      <a:folHlink>
        <a:srgbClr val="00206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12700" cap="flat" cmpd="sng" algn="ctr">
          <a:noFill/>
          <a:prstDash val="solid"/>
          <a:miter lim="800000"/>
        </a:ln>
        <a:effectLst>
          <a:outerShdw blurRad="76200" dist="12700" dir="5400000" algn="ctr" rotWithShape="0">
            <a:srgbClr val="000000">
              <a:alpha val="10000"/>
            </a:srgbClr>
          </a:outerShdw>
        </a:effectLst>
      </a:spPr>
      <a:bodyPr lIns="0" tIns="0" rIns="0" bIns="182880" rtlCol="0" anchor="b"/>
      <a:lstStyle>
        <a:defPPr algn="ctr" defTabSz="914400" fontAlgn="base">
          <a:spcBef>
            <a:spcPct val="0"/>
          </a:spcBef>
          <a:spcAft>
            <a:spcPct val="0"/>
          </a:spcAft>
          <a:buClr>
            <a:srgbClr val="FFFFFF"/>
          </a:buClr>
          <a:buSzPts val="5100"/>
          <a:defRPr sz="1050" kern="0" dirty="0">
            <a:solidFill>
              <a:schemeClr val="bg1">
                <a:lumMod val="50000"/>
              </a:schemeClr>
            </a:solidFill>
            <a:latin typeface="Arial Black" panose="020B0A04020102020204" pitchFamily="34" charset="0"/>
            <a:cs typeface="Arial" panose="020B0604020202020204" pitchFamily="34" charset="0"/>
            <a:sym typeface="Arial" panose="020B0604020202020204" pitchFamily="34" charset="0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3A33985C488F4B96BA9A156DB0E038" ma:contentTypeVersion="10" ma:contentTypeDescription="Create a new document." ma:contentTypeScope="" ma:versionID="b22bf38c567b222d85a14df0b3764563">
  <xsd:schema xmlns:xsd="http://www.w3.org/2001/XMLSchema" xmlns:xs="http://www.w3.org/2001/XMLSchema" xmlns:p="http://schemas.microsoft.com/office/2006/metadata/properties" xmlns:ns2="aecb5e79-6da5-4a0a-ab8c-1dc77dd81477" xmlns:ns3="bea9b55a-a434-4735-a924-5cf259b5e4b0" targetNamespace="http://schemas.microsoft.com/office/2006/metadata/properties" ma:root="true" ma:fieldsID="d717a74c1b1d7fc543c425b0896f0d1c" ns2:_="" ns3:_="">
    <xsd:import namespace="aecb5e79-6da5-4a0a-ab8c-1dc77dd81477"/>
    <xsd:import namespace="bea9b55a-a434-4735-a924-5cf259b5e4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cb5e79-6da5-4a0a-ab8c-1dc77dd814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a9b55a-a434-4735-a924-5cf259b5e4b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DBCABC2-F2D3-409C-A60A-067B86BABF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cb5e79-6da5-4a0a-ab8c-1dc77dd81477"/>
    <ds:schemaRef ds:uri="bea9b55a-a434-4735-a924-5cf259b5e4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48F0B0F-A3DF-423A-A76B-981590B0D2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C9CF573-532F-4BC7-BA2F-BAC885521F73}">
  <ds:schemaRefs>
    <ds:schemaRef ds:uri="http://purl.org/dc/dcmitype/"/>
    <ds:schemaRef ds:uri="http://purl.org/dc/elements/1.1/"/>
    <ds:schemaRef ds:uri="http://schemas.openxmlformats.org/package/2006/metadata/core-properties"/>
    <ds:schemaRef ds:uri="bea9b55a-a434-4735-a924-5cf259b5e4b0"/>
    <ds:schemaRef ds:uri="http://purl.org/dc/terms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aecb5e79-6da5-4a0a-ab8c-1dc77dd81477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87</TotalTime>
  <Words>836</Words>
  <Application>Microsoft Office PowerPoint</Application>
  <PresentationFormat>Widescreen</PresentationFormat>
  <Paragraphs>139</Paragraphs>
  <Slides>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Montserrat</vt:lpstr>
      <vt:lpstr>Palatino</vt:lpstr>
      <vt:lpstr>Times New Roman</vt:lpstr>
      <vt:lpstr>Office Theme</vt:lpstr>
      <vt:lpstr>5_WBG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miris Santos</dc:creator>
  <cp:lastModifiedBy>Olaf Schmidt</cp:lastModifiedBy>
  <cp:revision>3</cp:revision>
  <dcterms:created xsi:type="dcterms:W3CDTF">2021-11-04T15:23:49Z</dcterms:created>
  <dcterms:modified xsi:type="dcterms:W3CDTF">2022-06-06T13:3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3A33985C488F4B96BA9A156DB0E038</vt:lpwstr>
  </property>
</Properties>
</file>